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3" r:id="rId2"/>
  </p:sldMasterIdLst>
  <p:notesMasterIdLst>
    <p:notesMasterId r:id="rId20"/>
  </p:notesMasterIdLst>
  <p:sldIdLst>
    <p:sldId id="256" r:id="rId3"/>
    <p:sldId id="2147473138" r:id="rId4"/>
    <p:sldId id="2147473151" r:id="rId5"/>
    <p:sldId id="258" r:id="rId6"/>
    <p:sldId id="2147473152" r:id="rId7"/>
    <p:sldId id="260" r:id="rId8"/>
    <p:sldId id="2147473153" r:id="rId9"/>
    <p:sldId id="2147473154" r:id="rId10"/>
    <p:sldId id="2147473150" r:id="rId11"/>
    <p:sldId id="262" r:id="rId12"/>
    <p:sldId id="2147473155" r:id="rId13"/>
    <p:sldId id="2147473157" r:id="rId14"/>
    <p:sldId id="2147473158" r:id="rId15"/>
    <p:sldId id="2147473156" r:id="rId16"/>
    <p:sldId id="263" r:id="rId17"/>
    <p:sldId id="294" r:id="rId18"/>
    <p:sldId id="305" r:id="rId1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FD2E9"/>
    <a:srgbClr val="203865"/>
    <a:srgbClr val="00AD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23378B-2ED4-4AB9-9242-D42830FE84A7}" v="93" dt="2024-04-19T06:28:28.613"/>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60" autoAdjust="0"/>
    <p:restoredTop sz="88267" autoAdjust="0"/>
  </p:normalViewPr>
  <p:slideViewPr>
    <p:cSldViewPr snapToGrid="0" showGuides="1">
      <p:cViewPr varScale="1">
        <p:scale>
          <a:sx n="94" d="100"/>
          <a:sy n="94" d="100"/>
        </p:scale>
        <p:origin x="786" y="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van Gentile" userId="1703ff82-4a3d-4a0b-8903-a45633531d13" providerId="ADAL" clId="{CADE1BA2-8339-49E0-A18E-2FCB3DF06264}"/>
    <pc:docChg chg="undo custSel modSld">
      <pc:chgData name="Ivan Gentile" userId="1703ff82-4a3d-4a0b-8903-a45633531d13" providerId="ADAL" clId="{CADE1BA2-8339-49E0-A18E-2FCB3DF06264}" dt="2024-04-15T12:38:28.691" v="50" actId="1076"/>
      <pc:docMkLst>
        <pc:docMk/>
      </pc:docMkLst>
      <pc:sldChg chg="modSp mod">
        <pc:chgData name="Ivan Gentile" userId="1703ff82-4a3d-4a0b-8903-a45633531d13" providerId="ADAL" clId="{CADE1BA2-8339-49E0-A18E-2FCB3DF06264}" dt="2024-04-09T22:28:04.690" v="8" actId="1076"/>
        <pc:sldMkLst>
          <pc:docMk/>
          <pc:sldMk cId="1664277489" sldId="292"/>
        </pc:sldMkLst>
        <pc:picChg chg="mod">
          <ac:chgData name="Ivan Gentile" userId="1703ff82-4a3d-4a0b-8903-a45633531d13" providerId="ADAL" clId="{CADE1BA2-8339-49E0-A18E-2FCB3DF06264}" dt="2024-04-09T22:28:04.690" v="8" actId="1076"/>
          <ac:picMkLst>
            <pc:docMk/>
            <pc:sldMk cId="1664277489" sldId="292"/>
            <ac:picMk id="6" creationId="{22FD1E7A-915D-6669-F998-4DAA104195D8}"/>
          </ac:picMkLst>
        </pc:picChg>
      </pc:sldChg>
      <pc:sldChg chg="addSp delSp modSp mod">
        <pc:chgData name="Ivan Gentile" userId="1703ff82-4a3d-4a0b-8903-a45633531d13" providerId="ADAL" clId="{CADE1BA2-8339-49E0-A18E-2FCB3DF06264}" dt="2024-04-09T23:14:09.871" v="10" actId="21"/>
        <pc:sldMkLst>
          <pc:docMk/>
          <pc:sldMk cId="979393538" sldId="312"/>
        </pc:sldMkLst>
        <pc:spChg chg="add del">
          <ac:chgData name="Ivan Gentile" userId="1703ff82-4a3d-4a0b-8903-a45633531d13" providerId="ADAL" clId="{CADE1BA2-8339-49E0-A18E-2FCB3DF06264}" dt="2024-04-09T23:14:09.871" v="10" actId="21"/>
          <ac:spMkLst>
            <pc:docMk/>
            <pc:sldMk cId="979393538" sldId="312"/>
            <ac:spMk id="3" creationId="{F01A1794-7129-C04C-58A1-0425A5E56998}"/>
          </ac:spMkLst>
        </pc:spChg>
        <pc:spChg chg="add del mod">
          <ac:chgData name="Ivan Gentile" userId="1703ff82-4a3d-4a0b-8903-a45633531d13" providerId="ADAL" clId="{CADE1BA2-8339-49E0-A18E-2FCB3DF06264}" dt="2024-04-09T23:14:09.871" v="10" actId="21"/>
          <ac:spMkLst>
            <pc:docMk/>
            <pc:sldMk cId="979393538" sldId="312"/>
            <ac:spMk id="6" creationId="{AFE9A661-E6E2-6763-D2BB-E866E0C6E055}"/>
          </ac:spMkLst>
        </pc:spChg>
      </pc:sldChg>
      <pc:sldChg chg="modSp mod">
        <pc:chgData name="Ivan Gentile" userId="1703ff82-4a3d-4a0b-8903-a45633531d13" providerId="ADAL" clId="{CADE1BA2-8339-49E0-A18E-2FCB3DF06264}" dt="2024-04-15T12:38:05.755" v="25" actId="14100"/>
        <pc:sldMkLst>
          <pc:docMk/>
          <pc:sldMk cId="958987845" sldId="2147473138"/>
        </pc:sldMkLst>
        <pc:spChg chg="mod">
          <ac:chgData name="Ivan Gentile" userId="1703ff82-4a3d-4a0b-8903-a45633531d13" providerId="ADAL" clId="{CADE1BA2-8339-49E0-A18E-2FCB3DF06264}" dt="2024-04-15T12:38:05.755" v="25" actId="14100"/>
          <ac:spMkLst>
            <pc:docMk/>
            <pc:sldMk cId="958987845" sldId="2147473138"/>
            <ac:spMk id="15" creationId="{54EE7AFB-D0AB-48BE-A032-35797DBAFDE1}"/>
          </ac:spMkLst>
        </pc:spChg>
        <pc:spChg chg="mod">
          <ac:chgData name="Ivan Gentile" userId="1703ff82-4a3d-4a0b-8903-a45633531d13" providerId="ADAL" clId="{CADE1BA2-8339-49E0-A18E-2FCB3DF06264}" dt="2024-04-09T22:16:20.724" v="7" actId="20577"/>
          <ac:spMkLst>
            <pc:docMk/>
            <pc:sldMk cId="958987845" sldId="2147473138"/>
            <ac:spMk id="17" creationId="{7993B009-592A-40CB-AEDE-36089E6FCADC}"/>
          </ac:spMkLst>
        </pc:spChg>
      </pc:sldChg>
      <pc:sldChg chg="modSp mod">
        <pc:chgData name="Ivan Gentile" userId="1703ff82-4a3d-4a0b-8903-a45633531d13" providerId="ADAL" clId="{CADE1BA2-8339-49E0-A18E-2FCB3DF06264}" dt="2024-04-15T12:38:28.691" v="50" actId="1076"/>
        <pc:sldMkLst>
          <pc:docMk/>
          <pc:sldMk cId="3280827461" sldId="2147473140"/>
        </pc:sldMkLst>
        <pc:spChg chg="mod">
          <ac:chgData name="Ivan Gentile" userId="1703ff82-4a3d-4a0b-8903-a45633531d13" providerId="ADAL" clId="{CADE1BA2-8339-49E0-A18E-2FCB3DF06264}" dt="2024-04-15T12:38:28.691" v="50" actId="1076"/>
          <ac:spMkLst>
            <pc:docMk/>
            <pc:sldMk cId="3280827461" sldId="2147473140"/>
            <ac:spMk id="15" creationId="{0CD62B16-7F4F-C378-E5BB-70754D27AFFC}"/>
          </ac:spMkLst>
        </pc:spChg>
      </pc:sldChg>
    </pc:docChg>
  </pc:docChgLst>
  <pc:docChgLst>
    <pc:chgData name="Ivan Gentile" userId="1703ff82-4a3d-4a0b-8903-a45633531d13" providerId="ADAL" clId="{A0163071-59EF-4135-970C-48BE53609E35}"/>
    <pc:docChg chg="undo custSel addSld delSld modSld sldOrd">
      <pc:chgData name="Ivan Gentile" userId="1703ff82-4a3d-4a0b-8903-a45633531d13" providerId="ADAL" clId="{A0163071-59EF-4135-970C-48BE53609E35}" dt="2024-03-25T13:34:44.906" v="3121" actId="1037"/>
      <pc:docMkLst>
        <pc:docMk/>
      </pc:docMkLst>
      <pc:sldChg chg="modSp mod">
        <pc:chgData name="Ivan Gentile" userId="1703ff82-4a3d-4a0b-8903-a45633531d13" providerId="ADAL" clId="{A0163071-59EF-4135-970C-48BE53609E35}" dt="2024-03-22T11:02:14.212" v="696" actId="113"/>
        <pc:sldMkLst>
          <pc:docMk/>
          <pc:sldMk cId="724257521" sldId="260"/>
        </pc:sldMkLst>
        <pc:spChg chg="mod">
          <ac:chgData name="Ivan Gentile" userId="1703ff82-4a3d-4a0b-8903-a45633531d13" providerId="ADAL" clId="{A0163071-59EF-4135-970C-48BE53609E35}" dt="2024-03-22T11:02:02.191" v="691" actId="14100"/>
          <ac:spMkLst>
            <pc:docMk/>
            <pc:sldMk cId="724257521" sldId="260"/>
            <ac:spMk id="2" creationId="{4ECD282D-0926-3619-2DB5-0EC9F9ADF32C}"/>
          </ac:spMkLst>
        </pc:spChg>
        <pc:spChg chg="mod">
          <ac:chgData name="Ivan Gentile" userId="1703ff82-4a3d-4a0b-8903-a45633531d13" providerId="ADAL" clId="{A0163071-59EF-4135-970C-48BE53609E35}" dt="2024-03-22T11:02:14.212" v="696" actId="113"/>
          <ac:spMkLst>
            <pc:docMk/>
            <pc:sldMk cId="724257521" sldId="260"/>
            <ac:spMk id="3" creationId="{BDE12663-3393-63EF-E2C0-FE0FD094F8CC}"/>
          </ac:spMkLst>
        </pc:spChg>
      </pc:sldChg>
      <pc:sldChg chg="del">
        <pc:chgData name="Ivan Gentile" userId="1703ff82-4a3d-4a0b-8903-a45633531d13" providerId="ADAL" clId="{A0163071-59EF-4135-970C-48BE53609E35}" dt="2024-03-04T16:34:23.947" v="14" actId="47"/>
        <pc:sldMkLst>
          <pc:docMk/>
          <pc:sldMk cId="3107452486" sldId="264"/>
        </pc:sldMkLst>
      </pc:sldChg>
      <pc:sldChg chg="del">
        <pc:chgData name="Ivan Gentile" userId="1703ff82-4a3d-4a0b-8903-a45633531d13" providerId="ADAL" clId="{A0163071-59EF-4135-970C-48BE53609E35}" dt="2024-03-04T16:33:47.360" v="0" actId="47"/>
        <pc:sldMkLst>
          <pc:docMk/>
          <pc:sldMk cId="1327138557" sldId="265"/>
        </pc:sldMkLst>
      </pc:sldChg>
      <pc:sldChg chg="addSp delSp modSp mod">
        <pc:chgData name="Ivan Gentile" userId="1703ff82-4a3d-4a0b-8903-a45633531d13" providerId="ADAL" clId="{A0163071-59EF-4135-970C-48BE53609E35}" dt="2024-03-22T11:16:53.391" v="787" actId="21"/>
        <pc:sldMkLst>
          <pc:docMk/>
          <pc:sldMk cId="983047321" sldId="266"/>
        </pc:sldMkLst>
        <pc:picChg chg="add del mod">
          <ac:chgData name="Ivan Gentile" userId="1703ff82-4a3d-4a0b-8903-a45633531d13" providerId="ADAL" clId="{A0163071-59EF-4135-970C-48BE53609E35}" dt="2024-03-22T11:16:53.391" v="787" actId="21"/>
          <ac:picMkLst>
            <pc:docMk/>
            <pc:sldMk cId="983047321" sldId="266"/>
            <ac:picMk id="2" creationId="{19380FB6-9B50-C77C-B2A4-0D8E309950E9}"/>
          </ac:picMkLst>
        </pc:picChg>
      </pc:sldChg>
      <pc:sldChg chg="modSp mod">
        <pc:chgData name="Ivan Gentile" userId="1703ff82-4a3d-4a0b-8903-a45633531d13" providerId="ADAL" clId="{A0163071-59EF-4135-970C-48BE53609E35}" dt="2024-03-22T10:21:23" v="88" actId="20577"/>
        <pc:sldMkLst>
          <pc:docMk/>
          <pc:sldMk cId="2826615045" sldId="267"/>
        </pc:sldMkLst>
        <pc:spChg chg="mod">
          <ac:chgData name="Ivan Gentile" userId="1703ff82-4a3d-4a0b-8903-a45633531d13" providerId="ADAL" clId="{A0163071-59EF-4135-970C-48BE53609E35}" dt="2024-03-22T10:21:23" v="88" actId="20577"/>
          <ac:spMkLst>
            <pc:docMk/>
            <pc:sldMk cId="2826615045" sldId="267"/>
            <ac:spMk id="2" creationId="{A11DD387-DF70-8263-AD3C-ACB1124834D0}"/>
          </ac:spMkLst>
        </pc:spChg>
        <pc:spChg chg="mod">
          <ac:chgData name="Ivan Gentile" userId="1703ff82-4a3d-4a0b-8903-a45633531d13" providerId="ADAL" clId="{A0163071-59EF-4135-970C-48BE53609E35}" dt="2024-03-22T10:21:07.242" v="78" actId="313"/>
          <ac:spMkLst>
            <pc:docMk/>
            <pc:sldMk cId="2826615045" sldId="267"/>
            <ac:spMk id="14" creationId="{BF32CCB5-56E4-5215-1758-9239A3A43832}"/>
          </ac:spMkLst>
        </pc:spChg>
      </pc:sldChg>
      <pc:sldChg chg="addSp modSp mod">
        <pc:chgData name="Ivan Gentile" userId="1703ff82-4a3d-4a0b-8903-a45633531d13" providerId="ADAL" clId="{A0163071-59EF-4135-970C-48BE53609E35}" dt="2024-03-25T09:34:57.482" v="2737" actId="115"/>
        <pc:sldMkLst>
          <pc:docMk/>
          <pc:sldMk cId="3761567387" sldId="268"/>
        </pc:sldMkLst>
        <pc:spChg chg="add mod">
          <ac:chgData name="Ivan Gentile" userId="1703ff82-4a3d-4a0b-8903-a45633531d13" providerId="ADAL" clId="{A0163071-59EF-4135-970C-48BE53609E35}" dt="2024-03-22T11:23:58.834" v="1154" actId="20577"/>
          <ac:spMkLst>
            <pc:docMk/>
            <pc:sldMk cId="3761567387" sldId="268"/>
            <ac:spMk id="5" creationId="{30331CDE-846A-C303-47D4-1E750DCA9F9F}"/>
          </ac:spMkLst>
        </pc:spChg>
        <pc:spChg chg="mod">
          <ac:chgData name="Ivan Gentile" userId="1703ff82-4a3d-4a0b-8903-a45633531d13" providerId="ADAL" clId="{A0163071-59EF-4135-970C-48BE53609E35}" dt="2024-03-25T09:34:57.482" v="2737" actId="115"/>
          <ac:spMkLst>
            <pc:docMk/>
            <pc:sldMk cId="3761567387" sldId="268"/>
            <ac:spMk id="7" creationId="{2264B8C1-2247-2FC6-07E7-875E24E48D93}"/>
          </ac:spMkLst>
        </pc:spChg>
      </pc:sldChg>
      <pc:sldChg chg="modSp mod">
        <pc:chgData name="Ivan Gentile" userId="1703ff82-4a3d-4a0b-8903-a45633531d13" providerId="ADAL" clId="{A0163071-59EF-4135-970C-48BE53609E35}" dt="2024-03-25T10:24:00.176" v="2778" actId="1076"/>
        <pc:sldMkLst>
          <pc:docMk/>
          <pc:sldMk cId="3638757758" sldId="271"/>
        </pc:sldMkLst>
        <pc:spChg chg="mod">
          <ac:chgData name="Ivan Gentile" userId="1703ff82-4a3d-4a0b-8903-a45633531d13" providerId="ADAL" clId="{A0163071-59EF-4135-970C-48BE53609E35}" dt="2024-03-25T10:24:00.176" v="2778" actId="1076"/>
          <ac:spMkLst>
            <pc:docMk/>
            <pc:sldMk cId="3638757758" sldId="271"/>
            <ac:spMk id="7" creationId="{2264B8C1-2247-2FC6-07E7-875E24E48D93}"/>
          </ac:spMkLst>
        </pc:spChg>
        <pc:picChg chg="mod">
          <ac:chgData name="Ivan Gentile" userId="1703ff82-4a3d-4a0b-8903-a45633531d13" providerId="ADAL" clId="{A0163071-59EF-4135-970C-48BE53609E35}" dt="2024-03-25T10:23:26.049" v="2758" actId="1038"/>
          <ac:picMkLst>
            <pc:docMk/>
            <pc:sldMk cId="3638757758" sldId="271"/>
            <ac:picMk id="8" creationId="{0925AD5D-3DE6-A9B4-E927-504C4F0353A7}"/>
          </ac:picMkLst>
        </pc:picChg>
      </pc:sldChg>
      <pc:sldChg chg="modSp add del mod">
        <pc:chgData name="Ivan Gentile" userId="1703ff82-4a3d-4a0b-8903-a45633531d13" providerId="ADAL" clId="{A0163071-59EF-4135-970C-48BE53609E35}" dt="2024-03-22T11:28:12.324" v="1231" actId="1076"/>
        <pc:sldMkLst>
          <pc:docMk/>
          <pc:sldMk cId="3047295777" sldId="272"/>
        </pc:sldMkLst>
        <pc:spChg chg="mod">
          <ac:chgData name="Ivan Gentile" userId="1703ff82-4a3d-4a0b-8903-a45633531d13" providerId="ADAL" clId="{A0163071-59EF-4135-970C-48BE53609E35}" dt="2024-03-22T11:28:12.324" v="1231" actId="1076"/>
          <ac:spMkLst>
            <pc:docMk/>
            <pc:sldMk cId="3047295777" sldId="272"/>
            <ac:spMk id="7" creationId="{2264B8C1-2247-2FC6-07E7-875E24E48D93}"/>
          </ac:spMkLst>
        </pc:spChg>
      </pc:sldChg>
      <pc:sldChg chg="del">
        <pc:chgData name="Ivan Gentile" userId="1703ff82-4a3d-4a0b-8903-a45633531d13" providerId="ADAL" clId="{A0163071-59EF-4135-970C-48BE53609E35}" dt="2024-03-04T16:34:00.503" v="4" actId="47"/>
        <pc:sldMkLst>
          <pc:docMk/>
          <pc:sldMk cId="1529060345" sldId="276"/>
        </pc:sldMkLst>
      </pc:sldChg>
      <pc:sldChg chg="del">
        <pc:chgData name="Ivan Gentile" userId="1703ff82-4a3d-4a0b-8903-a45633531d13" providerId="ADAL" clId="{A0163071-59EF-4135-970C-48BE53609E35}" dt="2024-03-04T16:33:57.469" v="3" actId="47"/>
        <pc:sldMkLst>
          <pc:docMk/>
          <pc:sldMk cId="3768915631" sldId="277"/>
        </pc:sldMkLst>
      </pc:sldChg>
      <pc:sldChg chg="del">
        <pc:chgData name="Ivan Gentile" userId="1703ff82-4a3d-4a0b-8903-a45633531d13" providerId="ADAL" clId="{A0163071-59EF-4135-970C-48BE53609E35}" dt="2024-03-04T16:34:01.688" v="5" actId="47"/>
        <pc:sldMkLst>
          <pc:docMk/>
          <pc:sldMk cId="4081294799" sldId="279"/>
        </pc:sldMkLst>
      </pc:sldChg>
      <pc:sldChg chg="del">
        <pc:chgData name="Ivan Gentile" userId="1703ff82-4a3d-4a0b-8903-a45633531d13" providerId="ADAL" clId="{A0163071-59EF-4135-970C-48BE53609E35}" dt="2024-03-04T16:34:02.210" v="6" actId="47"/>
        <pc:sldMkLst>
          <pc:docMk/>
          <pc:sldMk cId="1714228269" sldId="280"/>
        </pc:sldMkLst>
      </pc:sldChg>
      <pc:sldChg chg="modSp mod">
        <pc:chgData name="Ivan Gentile" userId="1703ff82-4a3d-4a0b-8903-a45633531d13" providerId="ADAL" clId="{A0163071-59EF-4135-970C-48BE53609E35}" dt="2024-03-22T11:29:44.778" v="1272" actId="20577"/>
        <pc:sldMkLst>
          <pc:docMk/>
          <pc:sldMk cId="1491987287" sldId="281"/>
        </pc:sldMkLst>
        <pc:spChg chg="mod">
          <ac:chgData name="Ivan Gentile" userId="1703ff82-4a3d-4a0b-8903-a45633531d13" providerId="ADAL" clId="{A0163071-59EF-4135-970C-48BE53609E35}" dt="2024-03-22T11:29:44.778" v="1272" actId="20577"/>
          <ac:spMkLst>
            <pc:docMk/>
            <pc:sldMk cId="1491987287" sldId="281"/>
            <ac:spMk id="2" creationId="{F19766F7-FC64-35FC-E7ED-30EED973BA54}"/>
          </ac:spMkLst>
        </pc:spChg>
      </pc:sldChg>
      <pc:sldChg chg="del">
        <pc:chgData name="Ivan Gentile" userId="1703ff82-4a3d-4a0b-8903-a45633531d13" providerId="ADAL" clId="{A0163071-59EF-4135-970C-48BE53609E35}" dt="2024-03-04T16:34:04.184" v="8" actId="47"/>
        <pc:sldMkLst>
          <pc:docMk/>
          <pc:sldMk cId="4058991015" sldId="282"/>
        </pc:sldMkLst>
      </pc:sldChg>
      <pc:sldChg chg="del">
        <pc:chgData name="Ivan Gentile" userId="1703ff82-4a3d-4a0b-8903-a45633531d13" providerId="ADAL" clId="{A0163071-59EF-4135-970C-48BE53609E35}" dt="2024-03-04T16:34:02.791" v="7" actId="47"/>
        <pc:sldMkLst>
          <pc:docMk/>
          <pc:sldMk cId="4178613659" sldId="283"/>
        </pc:sldMkLst>
      </pc:sldChg>
      <pc:sldChg chg="del">
        <pc:chgData name="Ivan Gentile" userId="1703ff82-4a3d-4a0b-8903-a45633531d13" providerId="ADAL" clId="{A0163071-59EF-4135-970C-48BE53609E35}" dt="2024-03-04T16:34:06.077" v="9" actId="47"/>
        <pc:sldMkLst>
          <pc:docMk/>
          <pc:sldMk cId="187913670" sldId="284"/>
        </pc:sldMkLst>
      </pc:sldChg>
      <pc:sldChg chg="del">
        <pc:chgData name="Ivan Gentile" userId="1703ff82-4a3d-4a0b-8903-a45633531d13" providerId="ADAL" clId="{A0163071-59EF-4135-970C-48BE53609E35}" dt="2024-03-04T16:34:17.228" v="10" actId="47"/>
        <pc:sldMkLst>
          <pc:docMk/>
          <pc:sldMk cId="2665201325" sldId="286"/>
        </pc:sldMkLst>
      </pc:sldChg>
      <pc:sldChg chg="delSp modSp mod modNotesTx">
        <pc:chgData name="Ivan Gentile" userId="1703ff82-4a3d-4a0b-8903-a45633531d13" providerId="ADAL" clId="{A0163071-59EF-4135-970C-48BE53609E35}" dt="2024-03-25T13:30:40.740" v="3070" actId="113"/>
        <pc:sldMkLst>
          <pc:docMk/>
          <pc:sldMk cId="1932043198" sldId="287"/>
        </pc:sldMkLst>
        <pc:spChg chg="mod">
          <ac:chgData name="Ivan Gentile" userId="1703ff82-4a3d-4a0b-8903-a45633531d13" providerId="ADAL" clId="{A0163071-59EF-4135-970C-48BE53609E35}" dt="2024-03-25T10:33:27.567" v="2886" actId="20577"/>
          <ac:spMkLst>
            <pc:docMk/>
            <pc:sldMk cId="1932043198" sldId="287"/>
            <ac:spMk id="2" creationId="{FA5B0D62-1680-96BB-2C7C-DD4D736C81EC}"/>
          </ac:spMkLst>
        </pc:spChg>
        <pc:spChg chg="mod">
          <ac:chgData name="Ivan Gentile" userId="1703ff82-4a3d-4a0b-8903-a45633531d13" providerId="ADAL" clId="{A0163071-59EF-4135-970C-48BE53609E35}" dt="2024-03-25T13:30:40.740" v="3070" actId="113"/>
          <ac:spMkLst>
            <pc:docMk/>
            <pc:sldMk cId="1932043198" sldId="287"/>
            <ac:spMk id="3" creationId="{7285CAAA-504A-9876-54E0-34AA32CA44D2}"/>
          </ac:spMkLst>
        </pc:spChg>
        <pc:spChg chg="del">
          <ac:chgData name="Ivan Gentile" userId="1703ff82-4a3d-4a0b-8903-a45633531d13" providerId="ADAL" clId="{A0163071-59EF-4135-970C-48BE53609E35}" dt="2024-03-22T13:41:18.385" v="1768" actId="478"/>
          <ac:spMkLst>
            <pc:docMk/>
            <pc:sldMk cId="1932043198" sldId="287"/>
            <ac:spMk id="7" creationId="{EB4157ED-03E9-346A-19CD-5B4F3B37AD40}"/>
          </ac:spMkLst>
        </pc:spChg>
      </pc:sldChg>
      <pc:sldChg chg="del">
        <pc:chgData name="Ivan Gentile" userId="1703ff82-4a3d-4a0b-8903-a45633531d13" providerId="ADAL" clId="{A0163071-59EF-4135-970C-48BE53609E35}" dt="2024-03-04T16:34:22.156" v="12" actId="47"/>
        <pc:sldMkLst>
          <pc:docMk/>
          <pc:sldMk cId="3557551500" sldId="289"/>
        </pc:sldMkLst>
      </pc:sldChg>
      <pc:sldChg chg="modSp mod modNotesTx">
        <pc:chgData name="Ivan Gentile" userId="1703ff82-4a3d-4a0b-8903-a45633531d13" providerId="ADAL" clId="{A0163071-59EF-4135-970C-48BE53609E35}" dt="2024-03-25T10:32:31.866" v="2872" actId="14100"/>
        <pc:sldMkLst>
          <pc:docMk/>
          <pc:sldMk cId="1355771830" sldId="290"/>
        </pc:sldMkLst>
        <pc:spChg chg="mod">
          <ac:chgData name="Ivan Gentile" userId="1703ff82-4a3d-4a0b-8903-a45633531d13" providerId="ADAL" clId="{A0163071-59EF-4135-970C-48BE53609E35}" dt="2024-03-22T13:43:19.973" v="1913" actId="6549"/>
          <ac:spMkLst>
            <pc:docMk/>
            <pc:sldMk cId="1355771830" sldId="290"/>
            <ac:spMk id="2" creationId="{EE91A0B5-6B0F-0B18-9BE8-3BED06CCF30E}"/>
          </ac:spMkLst>
        </pc:spChg>
        <pc:spChg chg="mod">
          <ac:chgData name="Ivan Gentile" userId="1703ff82-4a3d-4a0b-8903-a45633531d13" providerId="ADAL" clId="{A0163071-59EF-4135-970C-48BE53609E35}" dt="2024-03-22T18:59:50.643" v="2696" actId="20577"/>
          <ac:spMkLst>
            <pc:docMk/>
            <pc:sldMk cId="1355771830" sldId="290"/>
            <ac:spMk id="3" creationId="{A3EDC709-3E4A-E1DB-4B95-576F9B0B508D}"/>
          </ac:spMkLst>
        </pc:spChg>
        <pc:spChg chg="mod">
          <ac:chgData name="Ivan Gentile" userId="1703ff82-4a3d-4a0b-8903-a45633531d13" providerId="ADAL" clId="{A0163071-59EF-4135-970C-48BE53609E35}" dt="2024-03-25T10:32:31.866" v="2872" actId="14100"/>
          <ac:spMkLst>
            <pc:docMk/>
            <pc:sldMk cId="1355771830" sldId="290"/>
            <ac:spMk id="5" creationId="{CD994EF3-1A1C-93A1-9F8C-F176AC2D847C}"/>
          </ac:spMkLst>
        </pc:spChg>
      </pc:sldChg>
      <pc:sldChg chg="modSp mod">
        <pc:chgData name="Ivan Gentile" userId="1703ff82-4a3d-4a0b-8903-a45633531d13" providerId="ADAL" clId="{A0163071-59EF-4135-970C-48BE53609E35}" dt="2024-03-25T10:25:19.657" v="2862" actId="20577"/>
        <pc:sldMkLst>
          <pc:docMk/>
          <pc:sldMk cId="1664277489" sldId="292"/>
        </pc:sldMkLst>
        <pc:spChg chg="mod">
          <ac:chgData name="Ivan Gentile" userId="1703ff82-4a3d-4a0b-8903-a45633531d13" providerId="ADAL" clId="{A0163071-59EF-4135-970C-48BE53609E35}" dt="2024-03-25T10:25:19.657" v="2862" actId="20577"/>
          <ac:spMkLst>
            <pc:docMk/>
            <pc:sldMk cId="1664277489" sldId="292"/>
            <ac:spMk id="10" creationId="{7CD0CE84-614A-86F6-AA73-DA831DA6A0B8}"/>
          </ac:spMkLst>
        </pc:spChg>
      </pc:sldChg>
      <pc:sldChg chg="modSp mod modNotesTx">
        <pc:chgData name="Ivan Gentile" userId="1703ff82-4a3d-4a0b-8903-a45633531d13" providerId="ADAL" clId="{A0163071-59EF-4135-970C-48BE53609E35}" dt="2024-03-25T13:25:46.008" v="3056" actId="20577"/>
        <pc:sldMkLst>
          <pc:docMk/>
          <pc:sldMk cId="1940893355" sldId="293"/>
        </pc:sldMkLst>
        <pc:spChg chg="mod">
          <ac:chgData name="Ivan Gentile" userId="1703ff82-4a3d-4a0b-8903-a45633531d13" providerId="ADAL" clId="{A0163071-59EF-4135-970C-48BE53609E35}" dt="2024-03-25T13:25:28.009" v="3053" actId="20577"/>
          <ac:spMkLst>
            <pc:docMk/>
            <pc:sldMk cId="1940893355" sldId="293"/>
            <ac:spMk id="2" creationId="{71630706-F0D7-9E23-688B-0693B87FF260}"/>
          </ac:spMkLst>
        </pc:spChg>
        <pc:spChg chg="mod">
          <ac:chgData name="Ivan Gentile" userId="1703ff82-4a3d-4a0b-8903-a45633531d13" providerId="ADAL" clId="{A0163071-59EF-4135-970C-48BE53609E35}" dt="2024-03-25T13:25:46.008" v="3056" actId="20577"/>
          <ac:spMkLst>
            <pc:docMk/>
            <pc:sldMk cId="1940893355" sldId="293"/>
            <ac:spMk id="9" creationId="{D396BC03-7718-2302-5A33-00F2779D9137}"/>
          </ac:spMkLst>
        </pc:spChg>
      </pc:sldChg>
      <pc:sldChg chg="addSp delSp modSp mod">
        <pc:chgData name="Ivan Gentile" userId="1703ff82-4a3d-4a0b-8903-a45633531d13" providerId="ADAL" clId="{A0163071-59EF-4135-970C-48BE53609E35}" dt="2024-03-22T18:58:21.913" v="2639" actId="478"/>
        <pc:sldMkLst>
          <pc:docMk/>
          <pc:sldMk cId="3388411227" sldId="294"/>
        </pc:sldMkLst>
        <pc:picChg chg="add del mod">
          <ac:chgData name="Ivan Gentile" userId="1703ff82-4a3d-4a0b-8903-a45633531d13" providerId="ADAL" clId="{A0163071-59EF-4135-970C-48BE53609E35}" dt="2024-03-22T18:58:15.321" v="2636" actId="478"/>
          <ac:picMkLst>
            <pc:docMk/>
            <pc:sldMk cId="3388411227" sldId="294"/>
            <ac:picMk id="3" creationId="{94D2952B-0E4F-5FAF-1012-D5569ED6C197}"/>
          </ac:picMkLst>
        </pc:picChg>
        <pc:picChg chg="add del mod">
          <ac:chgData name="Ivan Gentile" userId="1703ff82-4a3d-4a0b-8903-a45633531d13" providerId="ADAL" clId="{A0163071-59EF-4135-970C-48BE53609E35}" dt="2024-03-22T18:58:21.913" v="2639" actId="478"/>
          <ac:picMkLst>
            <pc:docMk/>
            <pc:sldMk cId="3388411227" sldId="294"/>
            <ac:picMk id="7" creationId="{7365F37E-77DE-2ACB-DE82-A4D0450CEC1F}"/>
          </ac:picMkLst>
        </pc:picChg>
      </pc:sldChg>
      <pc:sldChg chg="modSp mod">
        <pc:chgData name="Ivan Gentile" userId="1703ff82-4a3d-4a0b-8903-a45633531d13" providerId="ADAL" clId="{A0163071-59EF-4135-970C-48BE53609E35}" dt="2024-03-25T10:32:26.848" v="2871" actId="1076"/>
        <pc:sldMkLst>
          <pc:docMk/>
          <pc:sldMk cId="2112587487" sldId="295"/>
        </pc:sldMkLst>
        <pc:spChg chg="mod">
          <ac:chgData name="Ivan Gentile" userId="1703ff82-4a3d-4a0b-8903-a45633531d13" providerId="ADAL" clId="{A0163071-59EF-4135-970C-48BE53609E35}" dt="2024-03-25T10:32:26.848" v="2871" actId="1076"/>
          <ac:spMkLst>
            <pc:docMk/>
            <pc:sldMk cId="2112587487" sldId="295"/>
            <ac:spMk id="9" creationId="{10A4630B-560C-F4D9-E57B-2C302DE944CB}"/>
          </ac:spMkLst>
        </pc:spChg>
      </pc:sldChg>
      <pc:sldChg chg="del">
        <pc:chgData name="Ivan Gentile" userId="1703ff82-4a3d-4a0b-8903-a45633531d13" providerId="ADAL" clId="{A0163071-59EF-4135-970C-48BE53609E35}" dt="2024-03-04T16:34:23.118" v="13" actId="47"/>
        <pc:sldMkLst>
          <pc:docMk/>
          <pc:sldMk cId="340095610" sldId="296"/>
        </pc:sldMkLst>
      </pc:sldChg>
      <pc:sldChg chg="modSp mod">
        <pc:chgData name="Ivan Gentile" userId="1703ff82-4a3d-4a0b-8903-a45633531d13" providerId="ADAL" clId="{A0163071-59EF-4135-970C-48BE53609E35}" dt="2024-03-25T10:32:15.604" v="2869" actId="14100"/>
        <pc:sldMkLst>
          <pc:docMk/>
          <pc:sldMk cId="2148463235" sldId="297"/>
        </pc:sldMkLst>
        <pc:spChg chg="mod">
          <ac:chgData name="Ivan Gentile" userId="1703ff82-4a3d-4a0b-8903-a45633531d13" providerId="ADAL" clId="{A0163071-59EF-4135-970C-48BE53609E35}" dt="2024-03-25T10:32:15.604" v="2869" actId="14100"/>
          <ac:spMkLst>
            <pc:docMk/>
            <pc:sldMk cId="2148463235" sldId="297"/>
            <ac:spMk id="5" creationId="{934538B4-4CE9-047C-EC8D-4C9FD062BF3A}"/>
          </ac:spMkLst>
        </pc:spChg>
      </pc:sldChg>
      <pc:sldChg chg="del">
        <pc:chgData name="Ivan Gentile" userId="1703ff82-4a3d-4a0b-8903-a45633531d13" providerId="ADAL" clId="{A0163071-59EF-4135-970C-48BE53609E35}" dt="2024-03-04T16:34:24.458" v="15" actId="47"/>
        <pc:sldMkLst>
          <pc:docMk/>
          <pc:sldMk cId="3703951316" sldId="299"/>
        </pc:sldMkLst>
      </pc:sldChg>
      <pc:sldChg chg="del">
        <pc:chgData name="Ivan Gentile" userId="1703ff82-4a3d-4a0b-8903-a45633531d13" providerId="ADAL" clId="{A0163071-59EF-4135-970C-48BE53609E35}" dt="2024-03-04T16:34:21.667" v="11" actId="47"/>
        <pc:sldMkLst>
          <pc:docMk/>
          <pc:sldMk cId="816082799" sldId="300"/>
        </pc:sldMkLst>
      </pc:sldChg>
      <pc:sldChg chg="del">
        <pc:chgData name="Ivan Gentile" userId="1703ff82-4a3d-4a0b-8903-a45633531d13" providerId="ADAL" clId="{A0163071-59EF-4135-970C-48BE53609E35}" dt="2024-03-04T16:33:54.996" v="1" actId="47"/>
        <pc:sldMkLst>
          <pc:docMk/>
          <pc:sldMk cId="3273476606" sldId="301"/>
        </pc:sldMkLst>
      </pc:sldChg>
      <pc:sldChg chg="del">
        <pc:chgData name="Ivan Gentile" userId="1703ff82-4a3d-4a0b-8903-a45633531d13" providerId="ADAL" clId="{A0163071-59EF-4135-970C-48BE53609E35}" dt="2024-03-04T16:33:56.184" v="2" actId="47"/>
        <pc:sldMkLst>
          <pc:docMk/>
          <pc:sldMk cId="4099877146" sldId="304"/>
        </pc:sldMkLst>
      </pc:sldChg>
      <pc:sldChg chg="modNotesTx">
        <pc:chgData name="Ivan Gentile" userId="1703ff82-4a3d-4a0b-8903-a45633531d13" providerId="ADAL" clId="{A0163071-59EF-4135-970C-48BE53609E35}" dt="2024-03-25T12:09:56.546" v="3016"/>
        <pc:sldMkLst>
          <pc:docMk/>
          <pc:sldMk cId="4057803053" sldId="305"/>
        </pc:sldMkLst>
      </pc:sldChg>
      <pc:sldChg chg="addSp modSp mod">
        <pc:chgData name="Ivan Gentile" userId="1703ff82-4a3d-4a0b-8903-a45633531d13" providerId="ADAL" clId="{A0163071-59EF-4135-970C-48BE53609E35}" dt="2024-03-25T13:34:44.906" v="3121" actId="1037"/>
        <pc:sldMkLst>
          <pc:docMk/>
          <pc:sldMk cId="1832308451" sldId="306"/>
        </pc:sldMkLst>
        <pc:spChg chg="mod">
          <ac:chgData name="Ivan Gentile" userId="1703ff82-4a3d-4a0b-8903-a45633531d13" providerId="ADAL" clId="{A0163071-59EF-4135-970C-48BE53609E35}" dt="2024-03-25T13:34:44.906" v="3121" actId="1037"/>
          <ac:spMkLst>
            <pc:docMk/>
            <pc:sldMk cId="1832308451" sldId="306"/>
            <ac:spMk id="3" creationId="{B3FCA682-A484-29CB-4AF1-245F328DEA2E}"/>
          </ac:spMkLst>
        </pc:spChg>
        <pc:picChg chg="add mod">
          <ac:chgData name="Ivan Gentile" userId="1703ff82-4a3d-4a0b-8903-a45633531d13" providerId="ADAL" clId="{A0163071-59EF-4135-970C-48BE53609E35}" dt="2024-03-25T13:28:37.692" v="3057"/>
          <ac:picMkLst>
            <pc:docMk/>
            <pc:sldMk cId="1832308451" sldId="306"/>
            <ac:picMk id="5" creationId="{C7800B49-F7AD-608A-A267-1801490FDDCD}"/>
          </ac:picMkLst>
        </pc:picChg>
        <pc:picChg chg="mod">
          <ac:chgData name="Ivan Gentile" userId="1703ff82-4a3d-4a0b-8903-a45633531d13" providerId="ADAL" clId="{A0163071-59EF-4135-970C-48BE53609E35}" dt="2024-03-25T13:34:35.457" v="3094" actId="1037"/>
          <ac:picMkLst>
            <pc:docMk/>
            <pc:sldMk cId="1832308451" sldId="306"/>
            <ac:picMk id="6" creationId="{7FCA3DB5-ECE2-CBCE-2E56-5FB8843AAD2F}"/>
          </ac:picMkLst>
        </pc:picChg>
      </pc:sldChg>
      <pc:sldChg chg="modSp mod modNotesTx">
        <pc:chgData name="Ivan Gentile" userId="1703ff82-4a3d-4a0b-8903-a45633531d13" providerId="ADAL" clId="{A0163071-59EF-4135-970C-48BE53609E35}" dt="2024-03-25T10:29:02.042" v="2865" actId="113"/>
        <pc:sldMkLst>
          <pc:docMk/>
          <pc:sldMk cId="4136034824" sldId="309"/>
        </pc:sldMkLst>
        <pc:spChg chg="mod">
          <ac:chgData name="Ivan Gentile" userId="1703ff82-4a3d-4a0b-8903-a45633531d13" providerId="ADAL" clId="{A0163071-59EF-4135-970C-48BE53609E35}" dt="2024-03-25T10:29:02.042" v="2865" actId="113"/>
          <ac:spMkLst>
            <pc:docMk/>
            <pc:sldMk cId="4136034824" sldId="309"/>
            <ac:spMk id="8" creationId="{BB3BCDDC-FE21-990F-010D-2E71E3855F48}"/>
          </ac:spMkLst>
        </pc:spChg>
      </pc:sldChg>
      <pc:sldChg chg="del">
        <pc:chgData name="Ivan Gentile" userId="1703ff82-4a3d-4a0b-8903-a45633531d13" providerId="ADAL" clId="{A0163071-59EF-4135-970C-48BE53609E35}" dt="2024-03-22T10:25:56.717" v="305" actId="47"/>
        <pc:sldMkLst>
          <pc:docMk/>
          <pc:sldMk cId="2856141762" sldId="311"/>
        </pc:sldMkLst>
      </pc:sldChg>
      <pc:sldChg chg="modSp mod modNotesTx">
        <pc:chgData name="Ivan Gentile" userId="1703ff82-4a3d-4a0b-8903-a45633531d13" providerId="ADAL" clId="{A0163071-59EF-4135-970C-48BE53609E35}" dt="2024-03-25T12:07:43.742" v="3014" actId="20577"/>
        <pc:sldMkLst>
          <pc:docMk/>
          <pc:sldMk cId="979393538" sldId="312"/>
        </pc:sldMkLst>
        <pc:spChg chg="mod">
          <ac:chgData name="Ivan Gentile" userId="1703ff82-4a3d-4a0b-8903-a45633531d13" providerId="ADAL" clId="{A0163071-59EF-4135-970C-48BE53609E35}" dt="2024-03-22T11:44:47.234" v="1341" actId="114"/>
          <ac:spMkLst>
            <pc:docMk/>
            <pc:sldMk cId="979393538" sldId="312"/>
            <ac:spMk id="3" creationId="{F01A1794-7129-C04C-58A1-0425A5E56998}"/>
          </ac:spMkLst>
        </pc:spChg>
      </pc:sldChg>
      <pc:sldChg chg="addSp delSp modSp mod modNotesTx">
        <pc:chgData name="Ivan Gentile" userId="1703ff82-4a3d-4a0b-8903-a45633531d13" providerId="ADAL" clId="{A0163071-59EF-4135-970C-48BE53609E35}" dt="2024-03-22T11:57:38.953" v="1473" actId="20577"/>
        <pc:sldMkLst>
          <pc:docMk/>
          <pc:sldMk cId="3231370554" sldId="313"/>
        </pc:sldMkLst>
        <pc:spChg chg="mod">
          <ac:chgData name="Ivan Gentile" userId="1703ff82-4a3d-4a0b-8903-a45633531d13" providerId="ADAL" clId="{A0163071-59EF-4135-970C-48BE53609E35}" dt="2024-03-22T11:57:38.953" v="1473" actId="20577"/>
          <ac:spMkLst>
            <pc:docMk/>
            <pc:sldMk cId="3231370554" sldId="313"/>
            <ac:spMk id="3" creationId="{61702EF3-22C9-6B89-57B3-765B87BF1EE1}"/>
          </ac:spMkLst>
        </pc:spChg>
        <pc:spChg chg="add del mod">
          <ac:chgData name="Ivan Gentile" userId="1703ff82-4a3d-4a0b-8903-a45633531d13" providerId="ADAL" clId="{A0163071-59EF-4135-970C-48BE53609E35}" dt="2024-03-22T11:47:28.729" v="1354" actId="478"/>
          <ac:spMkLst>
            <pc:docMk/>
            <pc:sldMk cId="3231370554" sldId="313"/>
            <ac:spMk id="7" creationId="{5B938231-EA1F-7FF4-229E-0729164D3417}"/>
          </ac:spMkLst>
        </pc:spChg>
        <pc:picChg chg="add mod">
          <ac:chgData name="Ivan Gentile" userId="1703ff82-4a3d-4a0b-8903-a45633531d13" providerId="ADAL" clId="{A0163071-59EF-4135-970C-48BE53609E35}" dt="2024-03-22T11:48:13.363" v="1384" actId="1037"/>
          <ac:picMkLst>
            <pc:docMk/>
            <pc:sldMk cId="3231370554" sldId="313"/>
            <ac:picMk id="6" creationId="{3ACDB008-CCE1-2554-5C47-A3C5E2653FCE}"/>
          </ac:picMkLst>
        </pc:picChg>
        <pc:picChg chg="add mod">
          <ac:chgData name="Ivan Gentile" userId="1703ff82-4a3d-4a0b-8903-a45633531d13" providerId="ADAL" clId="{A0163071-59EF-4135-970C-48BE53609E35}" dt="2024-03-22T11:48:13.363" v="1384" actId="1037"/>
          <ac:picMkLst>
            <pc:docMk/>
            <pc:sldMk cId="3231370554" sldId="313"/>
            <ac:picMk id="3074" creationId="{BE1F6EE2-7D3A-0316-E248-AEAB69AD8E7C}"/>
          </ac:picMkLst>
        </pc:picChg>
        <pc:picChg chg="add del mod">
          <ac:chgData name="Ivan Gentile" userId="1703ff82-4a3d-4a0b-8903-a45633531d13" providerId="ADAL" clId="{A0163071-59EF-4135-970C-48BE53609E35}" dt="2024-03-22T11:47:38.674" v="1357" actId="478"/>
          <ac:picMkLst>
            <pc:docMk/>
            <pc:sldMk cId="3231370554" sldId="313"/>
            <ac:picMk id="3078" creationId="{4EC85706-D546-A09E-295A-802E11EF10B5}"/>
          </ac:picMkLst>
        </pc:picChg>
        <pc:picChg chg="add mod">
          <ac:chgData name="Ivan Gentile" userId="1703ff82-4a3d-4a0b-8903-a45633531d13" providerId="ADAL" clId="{A0163071-59EF-4135-970C-48BE53609E35}" dt="2024-03-22T11:48:13.363" v="1384" actId="1037"/>
          <ac:picMkLst>
            <pc:docMk/>
            <pc:sldMk cId="3231370554" sldId="313"/>
            <ac:picMk id="3080" creationId="{6EAC7B30-3996-8617-05E1-D05CB6F5D392}"/>
          </ac:picMkLst>
        </pc:picChg>
      </pc:sldChg>
      <pc:sldChg chg="modSp mod modNotesTx">
        <pc:chgData name="Ivan Gentile" userId="1703ff82-4a3d-4a0b-8903-a45633531d13" providerId="ADAL" clId="{A0163071-59EF-4135-970C-48BE53609E35}" dt="2024-03-22T11:21:03.392" v="1043" actId="20577"/>
        <pc:sldMkLst>
          <pc:docMk/>
          <pc:sldMk cId="2503671340" sldId="314"/>
        </pc:sldMkLst>
        <pc:spChg chg="mod">
          <ac:chgData name="Ivan Gentile" userId="1703ff82-4a3d-4a0b-8903-a45633531d13" providerId="ADAL" clId="{A0163071-59EF-4135-970C-48BE53609E35}" dt="2024-03-22T11:18:47.707" v="816" actId="20577"/>
          <ac:spMkLst>
            <pc:docMk/>
            <pc:sldMk cId="2503671340" sldId="314"/>
            <ac:spMk id="7" creationId="{365D789F-7CB5-5E18-D9E0-8BE0091D380A}"/>
          </ac:spMkLst>
        </pc:spChg>
        <pc:spChg chg="mod">
          <ac:chgData name="Ivan Gentile" userId="1703ff82-4a3d-4a0b-8903-a45633531d13" providerId="ADAL" clId="{A0163071-59EF-4135-970C-48BE53609E35}" dt="2024-03-22T11:21:03.392" v="1043" actId="20577"/>
          <ac:spMkLst>
            <pc:docMk/>
            <pc:sldMk cId="2503671340" sldId="314"/>
            <ac:spMk id="12" creationId="{08CEAD52-3660-7AF8-C958-603815DB08FF}"/>
          </ac:spMkLst>
        </pc:spChg>
        <pc:spChg chg="mod">
          <ac:chgData name="Ivan Gentile" userId="1703ff82-4a3d-4a0b-8903-a45633531d13" providerId="ADAL" clId="{A0163071-59EF-4135-970C-48BE53609E35}" dt="2024-03-22T11:20:41.910" v="1036" actId="20577"/>
          <ac:spMkLst>
            <pc:docMk/>
            <pc:sldMk cId="2503671340" sldId="314"/>
            <ac:spMk id="13" creationId="{A551A5A8-F485-84AF-12D4-DD055851F48B}"/>
          </ac:spMkLst>
        </pc:spChg>
        <pc:spChg chg="mod">
          <ac:chgData name="Ivan Gentile" userId="1703ff82-4a3d-4a0b-8903-a45633531d13" providerId="ADAL" clId="{A0163071-59EF-4135-970C-48BE53609E35}" dt="2024-03-22T11:20:35.722" v="1035" actId="20577"/>
          <ac:spMkLst>
            <pc:docMk/>
            <pc:sldMk cId="2503671340" sldId="314"/>
            <ac:spMk id="14" creationId="{1927F9A6-DFA6-F36C-B346-ED6F73D75A4F}"/>
          </ac:spMkLst>
        </pc:spChg>
      </pc:sldChg>
      <pc:sldChg chg="delSp modSp mod modNotesTx">
        <pc:chgData name="Ivan Gentile" userId="1703ff82-4a3d-4a0b-8903-a45633531d13" providerId="ADAL" clId="{A0163071-59EF-4135-970C-48BE53609E35}" dt="2024-03-25T10:22:52.899" v="2750" actId="20577"/>
        <pc:sldMkLst>
          <pc:docMk/>
          <pc:sldMk cId="958987845" sldId="2147473138"/>
        </pc:sldMkLst>
        <pc:spChg chg="mod">
          <ac:chgData name="Ivan Gentile" userId="1703ff82-4a3d-4a0b-8903-a45633531d13" providerId="ADAL" clId="{A0163071-59EF-4135-970C-48BE53609E35}" dt="2024-03-22T10:19:31.271" v="19" actId="1076"/>
          <ac:spMkLst>
            <pc:docMk/>
            <pc:sldMk cId="958987845" sldId="2147473138"/>
            <ac:spMk id="11" creationId="{D54B81B5-9692-46FF-B313-81BB48352062}"/>
          </ac:spMkLst>
        </pc:spChg>
        <pc:spChg chg="mod">
          <ac:chgData name="Ivan Gentile" userId="1703ff82-4a3d-4a0b-8903-a45633531d13" providerId="ADAL" clId="{A0163071-59EF-4135-970C-48BE53609E35}" dt="2024-03-22T10:19:33.933" v="20" actId="113"/>
          <ac:spMkLst>
            <pc:docMk/>
            <pc:sldMk cId="958987845" sldId="2147473138"/>
            <ac:spMk id="14" creationId="{E66047B9-110C-40CD-8E79-B976D9FFB2BC}"/>
          </ac:spMkLst>
        </pc:spChg>
        <pc:spChg chg="mod">
          <ac:chgData name="Ivan Gentile" userId="1703ff82-4a3d-4a0b-8903-a45633531d13" providerId="ADAL" clId="{A0163071-59EF-4135-970C-48BE53609E35}" dt="2024-03-22T10:19:28.356" v="17" actId="113"/>
          <ac:spMkLst>
            <pc:docMk/>
            <pc:sldMk cId="958987845" sldId="2147473138"/>
            <ac:spMk id="15" creationId="{54EE7AFB-D0AB-48BE-A032-35797DBAFDE1}"/>
          </ac:spMkLst>
        </pc:spChg>
        <pc:spChg chg="mod">
          <ac:chgData name="Ivan Gentile" userId="1703ff82-4a3d-4a0b-8903-a45633531d13" providerId="ADAL" clId="{A0163071-59EF-4135-970C-48BE53609E35}" dt="2024-03-25T10:22:52.899" v="2750" actId="20577"/>
          <ac:spMkLst>
            <pc:docMk/>
            <pc:sldMk cId="958987845" sldId="2147473138"/>
            <ac:spMk id="17" creationId="{7993B009-592A-40CB-AEDE-36089E6FCADC}"/>
          </ac:spMkLst>
        </pc:spChg>
        <pc:picChg chg="del">
          <ac:chgData name="Ivan Gentile" userId="1703ff82-4a3d-4a0b-8903-a45633531d13" providerId="ADAL" clId="{A0163071-59EF-4135-970C-48BE53609E35}" dt="2024-03-22T11:02:31.594" v="697" actId="478"/>
          <ac:picMkLst>
            <pc:docMk/>
            <pc:sldMk cId="958987845" sldId="2147473138"/>
            <ac:picMk id="2" creationId="{7B9C9F3B-F417-E32D-C373-EC47C0C3365C}"/>
          </ac:picMkLst>
        </pc:picChg>
      </pc:sldChg>
      <pc:sldChg chg="addSp delSp modSp mod modNotesTx">
        <pc:chgData name="Ivan Gentile" userId="1703ff82-4a3d-4a0b-8903-a45633531d13" providerId="ADAL" clId="{A0163071-59EF-4135-970C-48BE53609E35}" dt="2024-03-22T11:43:53.145" v="1336" actId="478"/>
        <pc:sldMkLst>
          <pc:docMk/>
          <pc:sldMk cId="3280827461" sldId="2147473140"/>
        </pc:sldMkLst>
        <pc:spChg chg="add del">
          <ac:chgData name="Ivan Gentile" userId="1703ff82-4a3d-4a0b-8903-a45633531d13" providerId="ADAL" clId="{A0163071-59EF-4135-970C-48BE53609E35}" dt="2024-03-22T11:42:57.453" v="1325" actId="478"/>
          <ac:spMkLst>
            <pc:docMk/>
            <pc:sldMk cId="3280827461" sldId="2147473140"/>
            <ac:spMk id="5" creationId="{28AF798C-FF06-CBBC-4641-ABFFBB3418F8}"/>
          </ac:spMkLst>
        </pc:spChg>
        <pc:spChg chg="add del mod">
          <ac:chgData name="Ivan Gentile" userId="1703ff82-4a3d-4a0b-8903-a45633531d13" providerId="ADAL" clId="{A0163071-59EF-4135-970C-48BE53609E35}" dt="2024-03-22T11:43:52.598" v="1335" actId="478"/>
          <ac:spMkLst>
            <pc:docMk/>
            <pc:sldMk cId="3280827461" sldId="2147473140"/>
            <ac:spMk id="7" creationId="{DB3EA674-B8C9-70F8-E3A0-057F57B29640}"/>
          </ac:spMkLst>
        </pc:spChg>
        <pc:spChg chg="add del mod">
          <ac:chgData name="Ivan Gentile" userId="1703ff82-4a3d-4a0b-8903-a45633531d13" providerId="ADAL" clId="{A0163071-59EF-4135-970C-48BE53609E35}" dt="2024-03-22T11:43:51.965" v="1334" actId="478"/>
          <ac:spMkLst>
            <pc:docMk/>
            <pc:sldMk cId="3280827461" sldId="2147473140"/>
            <ac:spMk id="10" creationId="{EDCC14DC-7F62-2AC3-A088-6A0653DD2399}"/>
          </ac:spMkLst>
        </pc:spChg>
        <pc:spChg chg="add del mod">
          <ac:chgData name="Ivan Gentile" userId="1703ff82-4a3d-4a0b-8903-a45633531d13" providerId="ADAL" clId="{A0163071-59EF-4135-970C-48BE53609E35}" dt="2024-03-22T11:43:53.145" v="1336" actId="478"/>
          <ac:spMkLst>
            <pc:docMk/>
            <pc:sldMk cId="3280827461" sldId="2147473140"/>
            <ac:spMk id="13" creationId="{4CC78D61-2FC5-045E-CD5B-0CADECBABE5B}"/>
          </ac:spMkLst>
        </pc:spChg>
        <pc:spChg chg="mod">
          <ac:chgData name="Ivan Gentile" userId="1703ff82-4a3d-4a0b-8903-a45633531d13" providerId="ADAL" clId="{A0163071-59EF-4135-970C-48BE53609E35}" dt="2024-03-22T10:19:39.904" v="21" actId="113"/>
          <ac:spMkLst>
            <pc:docMk/>
            <pc:sldMk cId="3280827461" sldId="2147473140"/>
            <ac:spMk id="14" creationId="{A7778D73-1F32-155C-66AB-EC425ECDA2FF}"/>
          </ac:spMkLst>
        </pc:spChg>
        <pc:spChg chg="mod">
          <ac:chgData name="Ivan Gentile" userId="1703ff82-4a3d-4a0b-8903-a45633531d13" providerId="ADAL" clId="{A0163071-59EF-4135-970C-48BE53609E35}" dt="2024-03-22T11:40:41.455" v="1321" actId="14100"/>
          <ac:spMkLst>
            <pc:docMk/>
            <pc:sldMk cId="3280827461" sldId="2147473140"/>
            <ac:spMk id="17" creationId="{B23955F6-EB9A-1C2C-18C5-FC53E811BBC3}"/>
          </ac:spMkLst>
        </pc:spChg>
        <pc:picChg chg="del">
          <ac:chgData name="Ivan Gentile" userId="1703ff82-4a3d-4a0b-8903-a45633531d13" providerId="ADAL" clId="{A0163071-59EF-4135-970C-48BE53609E35}" dt="2024-03-22T11:02:33.578" v="698" actId="478"/>
          <ac:picMkLst>
            <pc:docMk/>
            <pc:sldMk cId="3280827461" sldId="2147473140"/>
            <ac:picMk id="2" creationId="{0B1EEDB1-CBD9-25BA-0326-A1D3D69225D5}"/>
          </ac:picMkLst>
        </pc:picChg>
      </pc:sldChg>
      <pc:sldChg chg="addSp delSp modSp mod delAnim modNotesTx">
        <pc:chgData name="Ivan Gentile" userId="1703ff82-4a3d-4a0b-8903-a45633531d13" providerId="ADAL" clId="{A0163071-59EF-4135-970C-48BE53609E35}" dt="2024-03-22T11:14:25.077" v="777" actId="14100"/>
        <pc:sldMkLst>
          <pc:docMk/>
          <pc:sldMk cId="3280942069" sldId="2147473141"/>
        </pc:sldMkLst>
        <pc:spChg chg="mod">
          <ac:chgData name="Ivan Gentile" userId="1703ff82-4a3d-4a0b-8903-a45633531d13" providerId="ADAL" clId="{A0163071-59EF-4135-970C-48BE53609E35}" dt="2024-03-22T11:14:22.332" v="776" actId="1076"/>
          <ac:spMkLst>
            <pc:docMk/>
            <pc:sldMk cId="3280942069" sldId="2147473141"/>
            <ac:spMk id="3" creationId="{3D94D7A5-C10D-01AB-B1E6-DA4603883B40}"/>
          </ac:spMkLst>
        </pc:spChg>
        <pc:spChg chg="del">
          <ac:chgData name="Ivan Gentile" userId="1703ff82-4a3d-4a0b-8903-a45633531d13" providerId="ADAL" clId="{A0163071-59EF-4135-970C-48BE53609E35}" dt="2024-03-22T11:07:03.343" v="713" actId="478"/>
          <ac:spMkLst>
            <pc:docMk/>
            <pc:sldMk cId="3280942069" sldId="2147473141"/>
            <ac:spMk id="7" creationId="{75EE0062-63DF-42B1-D87C-103333486388}"/>
          </ac:spMkLst>
        </pc:spChg>
        <pc:picChg chg="add del mod">
          <ac:chgData name="Ivan Gentile" userId="1703ff82-4a3d-4a0b-8903-a45633531d13" providerId="ADAL" clId="{A0163071-59EF-4135-970C-48BE53609E35}" dt="2024-03-22T11:13:50.732" v="772" actId="478"/>
          <ac:picMkLst>
            <pc:docMk/>
            <pc:sldMk cId="3280942069" sldId="2147473141"/>
            <ac:picMk id="6" creationId="{A798F590-3A46-58DA-5AA4-CE3D0111FDC4}"/>
          </ac:picMkLst>
        </pc:picChg>
        <pc:picChg chg="add del mod">
          <ac:chgData name="Ivan Gentile" userId="1703ff82-4a3d-4a0b-8903-a45633531d13" providerId="ADAL" clId="{A0163071-59EF-4135-970C-48BE53609E35}" dt="2024-03-22T11:14:09.170" v="774" actId="478"/>
          <ac:picMkLst>
            <pc:docMk/>
            <pc:sldMk cId="3280942069" sldId="2147473141"/>
            <ac:picMk id="9" creationId="{F28F9234-F2A9-F2A4-6585-9B73FE7022AB}"/>
          </ac:picMkLst>
        </pc:picChg>
        <pc:picChg chg="add del mod">
          <ac:chgData name="Ivan Gentile" userId="1703ff82-4a3d-4a0b-8903-a45633531d13" providerId="ADAL" clId="{A0163071-59EF-4135-970C-48BE53609E35}" dt="2024-03-22T11:06:43.928" v="702" actId="478"/>
          <ac:picMkLst>
            <pc:docMk/>
            <pc:sldMk cId="3280942069" sldId="2147473141"/>
            <ac:picMk id="1026" creationId="{4CAE4ACA-45CA-0A19-080E-1ACF19661F08}"/>
          </ac:picMkLst>
        </pc:picChg>
        <pc:picChg chg="add mod">
          <ac:chgData name="Ivan Gentile" userId="1703ff82-4a3d-4a0b-8903-a45633531d13" providerId="ADAL" clId="{A0163071-59EF-4135-970C-48BE53609E35}" dt="2024-03-22T11:14:25.077" v="777" actId="14100"/>
          <ac:picMkLst>
            <pc:docMk/>
            <pc:sldMk cId="3280942069" sldId="2147473141"/>
            <ac:picMk id="1028" creationId="{1A93EC57-220D-A71E-748B-BDD859D54DBB}"/>
          </ac:picMkLst>
        </pc:picChg>
      </pc:sldChg>
      <pc:sldChg chg="modNotesTx">
        <pc:chgData name="Ivan Gentile" userId="1703ff82-4a3d-4a0b-8903-a45633531d13" providerId="ADAL" clId="{A0163071-59EF-4135-970C-48BE53609E35}" dt="2024-03-22T12:01:56.777" v="1474"/>
        <pc:sldMkLst>
          <pc:docMk/>
          <pc:sldMk cId="1750509040" sldId="2147473142"/>
        </pc:sldMkLst>
      </pc:sldChg>
      <pc:sldChg chg="modSp mod">
        <pc:chgData name="Ivan Gentile" userId="1703ff82-4a3d-4a0b-8903-a45633531d13" providerId="ADAL" clId="{A0163071-59EF-4135-970C-48BE53609E35}" dt="2024-03-22T12:02:41.972" v="1476" actId="20577"/>
        <pc:sldMkLst>
          <pc:docMk/>
          <pc:sldMk cId="249750453" sldId="2147473143"/>
        </pc:sldMkLst>
        <pc:spChg chg="mod">
          <ac:chgData name="Ivan Gentile" userId="1703ff82-4a3d-4a0b-8903-a45633531d13" providerId="ADAL" clId="{A0163071-59EF-4135-970C-48BE53609E35}" dt="2024-03-22T12:02:41.972" v="1476" actId="20577"/>
          <ac:spMkLst>
            <pc:docMk/>
            <pc:sldMk cId="249750453" sldId="2147473143"/>
            <ac:spMk id="7" creationId="{A1FCE066-121F-B8FE-6E96-3E8E7D3B731F}"/>
          </ac:spMkLst>
        </pc:spChg>
      </pc:sldChg>
      <pc:sldChg chg="addSp modSp mod modNotesTx">
        <pc:chgData name="Ivan Gentile" userId="1703ff82-4a3d-4a0b-8903-a45633531d13" providerId="ADAL" clId="{A0163071-59EF-4135-970C-48BE53609E35}" dt="2024-03-25T10:32:40.432" v="2873" actId="1076"/>
        <pc:sldMkLst>
          <pc:docMk/>
          <pc:sldMk cId="2555857908" sldId="2147473144"/>
        </pc:sldMkLst>
        <pc:spChg chg="mod">
          <ac:chgData name="Ivan Gentile" userId="1703ff82-4a3d-4a0b-8903-a45633531d13" providerId="ADAL" clId="{A0163071-59EF-4135-970C-48BE53609E35}" dt="2024-03-25T10:32:40.432" v="2873" actId="1076"/>
          <ac:spMkLst>
            <pc:docMk/>
            <pc:sldMk cId="2555857908" sldId="2147473144"/>
            <ac:spMk id="6" creationId="{6516CE76-D10C-F19E-6B4B-9E116606AA0B}"/>
          </ac:spMkLst>
        </pc:spChg>
        <pc:spChg chg="add mod">
          <ac:chgData name="Ivan Gentile" userId="1703ff82-4a3d-4a0b-8903-a45633531d13" providerId="ADAL" clId="{A0163071-59EF-4135-970C-48BE53609E35}" dt="2024-03-22T11:55:03.043" v="1401" actId="1076"/>
          <ac:spMkLst>
            <pc:docMk/>
            <pc:sldMk cId="2555857908" sldId="2147473144"/>
            <ac:spMk id="10" creationId="{48370F08-EC18-E267-F7F3-DB3455A7CC6B}"/>
          </ac:spMkLst>
        </pc:spChg>
        <pc:picChg chg="mod">
          <ac:chgData name="Ivan Gentile" userId="1703ff82-4a3d-4a0b-8903-a45633531d13" providerId="ADAL" clId="{A0163071-59EF-4135-970C-48BE53609E35}" dt="2024-03-22T11:53:37.641" v="1391" actId="1076"/>
          <ac:picMkLst>
            <pc:docMk/>
            <pc:sldMk cId="2555857908" sldId="2147473144"/>
            <ac:picMk id="5" creationId="{80A218F3-7BC6-CF44-BA73-B3CF7DF76B26}"/>
          </ac:picMkLst>
        </pc:picChg>
        <pc:picChg chg="add mod">
          <ac:chgData name="Ivan Gentile" userId="1703ff82-4a3d-4a0b-8903-a45633531d13" providerId="ADAL" clId="{A0163071-59EF-4135-970C-48BE53609E35}" dt="2024-03-22T11:54:20.338" v="1399" actId="1076"/>
          <ac:picMkLst>
            <pc:docMk/>
            <pc:sldMk cId="2555857908" sldId="2147473144"/>
            <ac:picMk id="7" creationId="{041FA5FE-6990-B4B6-54B7-D6011536C82B}"/>
          </ac:picMkLst>
        </pc:picChg>
        <pc:picChg chg="add mod">
          <ac:chgData name="Ivan Gentile" userId="1703ff82-4a3d-4a0b-8903-a45633531d13" providerId="ADAL" clId="{A0163071-59EF-4135-970C-48BE53609E35}" dt="2024-03-22T11:54:10.416" v="1398" actId="1076"/>
          <ac:picMkLst>
            <pc:docMk/>
            <pc:sldMk cId="2555857908" sldId="2147473144"/>
            <ac:picMk id="9" creationId="{EBD30F7C-9FB1-B86D-5B89-85E726F0FB9E}"/>
          </ac:picMkLst>
        </pc:picChg>
      </pc:sldChg>
      <pc:sldChg chg="addSp modSp new mod">
        <pc:chgData name="Ivan Gentile" userId="1703ff82-4a3d-4a0b-8903-a45633531d13" providerId="ADAL" clId="{A0163071-59EF-4135-970C-48BE53609E35}" dt="2024-03-22T10:56:41.711" v="648" actId="1076"/>
        <pc:sldMkLst>
          <pc:docMk/>
          <pc:sldMk cId="1039389588" sldId="2147473145"/>
        </pc:sldMkLst>
        <pc:spChg chg="mod">
          <ac:chgData name="Ivan Gentile" userId="1703ff82-4a3d-4a0b-8903-a45633531d13" providerId="ADAL" clId="{A0163071-59EF-4135-970C-48BE53609E35}" dt="2024-03-22T10:19:48.159" v="28" actId="20577"/>
          <ac:spMkLst>
            <pc:docMk/>
            <pc:sldMk cId="1039389588" sldId="2147473145"/>
            <ac:spMk id="2" creationId="{178D9FFD-7785-4D45-25C8-23C4F050E1C3}"/>
          </ac:spMkLst>
        </pc:spChg>
        <pc:spChg chg="mod">
          <ac:chgData name="Ivan Gentile" userId="1703ff82-4a3d-4a0b-8903-a45633531d13" providerId="ADAL" clId="{A0163071-59EF-4135-970C-48BE53609E35}" dt="2024-03-22T10:56:39.787" v="647" actId="1076"/>
          <ac:spMkLst>
            <pc:docMk/>
            <pc:sldMk cId="1039389588" sldId="2147473145"/>
            <ac:spMk id="3" creationId="{B5C9AED0-2BE9-BD10-33D7-9AF464FFB417}"/>
          </ac:spMkLst>
        </pc:spChg>
        <pc:picChg chg="add mod">
          <ac:chgData name="Ivan Gentile" userId="1703ff82-4a3d-4a0b-8903-a45633531d13" providerId="ADAL" clId="{A0163071-59EF-4135-970C-48BE53609E35}" dt="2024-03-22T10:56:41.711" v="648" actId="1076"/>
          <ac:picMkLst>
            <pc:docMk/>
            <pc:sldMk cId="1039389588" sldId="2147473145"/>
            <ac:picMk id="5" creationId="{C631ACC5-50D6-AD3A-D87D-83BE1BAB02EC}"/>
          </ac:picMkLst>
        </pc:picChg>
      </pc:sldChg>
      <pc:sldChg chg="modSp new mod">
        <pc:chgData name="Ivan Gentile" userId="1703ff82-4a3d-4a0b-8903-a45633531d13" providerId="ADAL" clId="{A0163071-59EF-4135-970C-48BE53609E35}" dt="2024-03-25T11:17:32.471" v="2899" actId="113"/>
        <pc:sldMkLst>
          <pc:docMk/>
          <pc:sldMk cId="104523221" sldId="2147473146"/>
        </pc:sldMkLst>
        <pc:spChg chg="mod">
          <ac:chgData name="Ivan Gentile" userId="1703ff82-4a3d-4a0b-8903-a45633531d13" providerId="ADAL" clId="{A0163071-59EF-4135-970C-48BE53609E35}" dt="2024-03-22T10:57:19.425" v="689" actId="20577"/>
          <ac:spMkLst>
            <pc:docMk/>
            <pc:sldMk cId="104523221" sldId="2147473146"/>
            <ac:spMk id="2" creationId="{97FE1203-F5BA-103E-7711-BB8B0DC806E1}"/>
          </ac:spMkLst>
        </pc:spChg>
        <pc:spChg chg="mod">
          <ac:chgData name="Ivan Gentile" userId="1703ff82-4a3d-4a0b-8903-a45633531d13" providerId="ADAL" clId="{A0163071-59EF-4135-970C-48BE53609E35}" dt="2024-03-25T11:17:32.471" v="2899" actId="113"/>
          <ac:spMkLst>
            <pc:docMk/>
            <pc:sldMk cId="104523221" sldId="2147473146"/>
            <ac:spMk id="3" creationId="{CEDCB792-C5D9-2C09-4054-BD498620CE9C}"/>
          </ac:spMkLst>
        </pc:spChg>
      </pc:sldChg>
      <pc:sldChg chg="addSp delSp modSp new mod">
        <pc:chgData name="Ivan Gentile" userId="1703ff82-4a3d-4a0b-8903-a45633531d13" providerId="ADAL" clId="{A0163071-59EF-4135-970C-48BE53609E35}" dt="2024-03-22T11:40:03.718" v="1301" actId="1076"/>
        <pc:sldMkLst>
          <pc:docMk/>
          <pc:sldMk cId="3352805963" sldId="2147473147"/>
        </pc:sldMkLst>
        <pc:spChg chg="del mod">
          <ac:chgData name="Ivan Gentile" userId="1703ff82-4a3d-4a0b-8903-a45633531d13" providerId="ADAL" clId="{A0163071-59EF-4135-970C-48BE53609E35}" dt="2024-03-22T11:36:28.716" v="1274" actId="478"/>
          <ac:spMkLst>
            <pc:docMk/>
            <pc:sldMk cId="3352805963" sldId="2147473147"/>
            <ac:spMk id="2" creationId="{E38AC846-E5EF-1C4F-61EC-1A5565DBA7A8}"/>
          </ac:spMkLst>
        </pc:spChg>
        <pc:spChg chg="del">
          <ac:chgData name="Ivan Gentile" userId="1703ff82-4a3d-4a0b-8903-a45633531d13" providerId="ADAL" clId="{A0163071-59EF-4135-970C-48BE53609E35}" dt="2024-03-22T11:36:17.903" v="1273" actId="22"/>
          <ac:spMkLst>
            <pc:docMk/>
            <pc:sldMk cId="3352805963" sldId="2147473147"/>
            <ac:spMk id="3" creationId="{6D1E4A3E-577F-992C-8DC2-34B262780375}"/>
          </ac:spMkLst>
        </pc:spChg>
        <pc:spChg chg="add del mod">
          <ac:chgData name="Ivan Gentile" userId="1703ff82-4a3d-4a0b-8903-a45633531d13" providerId="ADAL" clId="{A0163071-59EF-4135-970C-48BE53609E35}" dt="2024-03-22T11:36:30.476" v="1275" actId="478"/>
          <ac:spMkLst>
            <pc:docMk/>
            <pc:sldMk cId="3352805963" sldId="2147473147"/>
            <ac:spMk id="8" creationId="{D6521B83-EB56-EA28-D760-7C291E46120F}"/>
          </ac:spMkLst>
        </pc:spChg>
        <pc:spChg chg="add mod">
          <ac:chgData name="Ivan Gentile" userId="1703ff82-4a3d-4a0b-8903-a45633531d13" providerId="ADAL" clId="{A0163071-59EF-4135-970C-48BE53609E35}" dt="2024-03-22T11:39:11.909" v="1296" actId="14100"/>
          <ac:spMkLst>
            <pc:docMk/>
            <pc:sldMk cId="3352805963" sldId="2147473147"/>
            <ac:spMk id="9" creationId="{F365C2F8-E52B-908C-B7A9-76B2BC448402}"/>
          </ac:spMkLst>
        </pc:spChg>
        <pc:spChg chg="add del mod">
          <ac:chgData name="Ivan Gentile" userId="1703ff82-4a3d-4a0b-8903-a45633531d13" providerId="ADAL" clId="{A0163071-59EF-4135-970C-48BE53609E35}" dt="2024-03-22T11:38:36.295" v="1287" actId="478"/>
          <ac:spMkLst>
            <pc:docMk/>
            <pc:sldMk cId="3352805963" sldId="2147473147"/>
            <ac:spMk id="11" creationId="{80D2ACA9-8666-B3B7-E2F1-283B02940D77}"/>
          </ac:spMkLst>
        </pc:spChg>
        <pc:spChg chg="add mod">
          <ac:chgData name="Ivan Gentile" userId="1703ff82-4a3d-4a0b-8903-a45633531d13" providerId="ADAL" clId="{A0163071-59EF-4135-970C-48BE53609E35}" dt="2024-03-22T11:40:03.718" v="1301" actId="1076"/>
          <ac:spMkLst>
            <pc:docMk/>
            <pc:sldMk cId="3352805963" sldId="2147473147"/>
            <ac:spMk id="15" creationId="{47E0297B-9007-6020-A6FA-0F5837D7A47A}"/>
          </ac:spMkLst>
        </pc:spChg>
        <pc:picChg chg="add del mod ord">
          <ac:chgData name="Ivan Gentile" userId="1703ff82-4a3d-4a0b-8903-a45633531d13" providerId="ADAL" clId="{A0163071-59EF-4135-970C-48BE53609E35}" dt="2024-03-22T11:38:29.609" v="1284" actId="478"/>
          <ac:picMkLst>
            <pc:docMk/>
            <pc:sldMk cId="3352805963" sldId="2147473147"/>
            <ac:picMk id="6" creationId="{1561C0A1-F50E-1497-A895-A426BE9AC4EF}"/>
          </ac:picMkLst>
        </pc:picChg>
        <pc:picChg chg="add mod ord">
          <ac:chgData name="Ivan Gentile" userId="1703ff82-4a3d-4a0b-8903-a45633531d13" providerId="ADAL" clId="{A0163071-59EF-4135-970C-48BE53609E35}" dt="2024-03-22T11:38:54.049" v="1291" actId="34135"/>
          <ac:picMkLst>
            <pc:docMk/>
            <pc:sldMk cId="3352805963" sldId="2147473147"/>
            <ac:picMk id="13" creationId="{475579A7-16AC-1DAE-A55B-DFB4B325D232}"/>
          </ac:picMkLst>
        </pc:picChg>
      </pc:sldChg>
      <pc:sldChg chg="modSp add mod ord">
        <pc:chgData name="Ivan Gentile" userId="1703ff82-4a3d-4a0b-8903-a45633531d13" providerId="ADAL" clId="{A0163071-59EF-4135-970C-48BE53609E35}" dt="2024-03-25T10:33:12.821" v="2878" actId="313"/>
        <pc:sldMkLst>
          <pc:docMk/>
          <pc:sldMk cId="264492658" sldId="2147473148"/>
        </pc:sldMkLst>
        <pc:spChg chg="mod">
          <ac:chgData name="Ivan Gentile" userId="1703ff82-4a3d-4a0b-8903-a45633531d13" providerId="ADAL" clId="{A0163071-59EF-4135-970C-48BE53609E35}" dt="2024-03-22T13:39:00.032" v="1756" actId="20577"/>
          <ac:spMkLst>
            <pc:docMk/>
            <pc:sldMk cId="264492658" sldId="2147473148"/>
            <ac:spMk id="2" creationId="{FA5B0D62-1680-96BB-2C7C-DD4D736C81EC}"/>
          </ac:spMkLst>
        </pc:spChg>
        <pc:spChg chg="mod">
          <ac:chgData name="Ivan Gentile" userId="1703ff82-4a3d-4a0b-8903-a45633531d13" providerId="ADAL" clId="{A0163071-59EF-4135-970C-48BE53609E35}" dt="2024-03-25T10:33:12.821" v="2878" actId="313"/>
          <ac:spMkLst>
            <pc:docMk/>
            <pc:sldMk cId="264492658" sldId="2147473148"/>
            <ac:spMk id="3" creationId="{7285CAAA-504A-9876-54E0-34AA32CA44D2}"/>
          </ac:spMkLst>
        </pc:spChg>
        <pc:spChg chg="mod">
          <ac:chgData name="Ivan Gentile" userId="1703ff82-4a3d-4a0b-8903-a45633531d13" providerId="ADAL" clId="{A0163071-59EF-4135-970C-48BE53609E35}" dt="2024-03-25T10:32:58.365" v="2874" actId="6549"/>
          <ac:spMkLst>
            <pc:docMk/>
            <pc:sldMk cId="264492658" sldId="2147473148"/>
            <ac:spMk id="7" creationId="{EB4157ED-03E9-346A-19CD-5B4F3B37AD40}"/>
          </ac:spMkLst>
        </pc:spChg>
      </pc:sldChg>
      <pc:sldChg chg="addSp modSp new del">
        <pc:chgData name="Ivan Gentile" userId="1703ff82-4a3d-4a0b-8903-a45633531d13" providerId="ADAL" clId="{A0163071-59EF-4135-970C-48BE53609E35}" dt="2024-03-22T11:17:42.661" v="790" actId="47"/>
        <pc:sldMkLst>
          <pc:docMk/>
          <pc:sldMk cId="2483518038" sldId="2147473148"/>
        </pc:sldMkLst>
        <pc:picChg chg="add mod">
          <ac:chgData name="Ivan Gentile" userId="1703ff82-4a3d-4a0b-8903-a45633531d13" providerId="ADAL" clId="{A0163071-59EF-4135-970C-48BE53609E35}" dt="2024-03-22T11:17:00.311" v="789"/>
          <ac:picMkLst>
            <pc:docMk/>
            <pc:sldMk cId="2483518038" sldId="2147473148"/>
            <ac:picMk id="5" creationId="{19380FB6-9B50-C77C-B2A4-0D8E309950E9}"/>
          </ac:picMkLst>
        </pc:picChg>
      </pc:sldChg>
      <pc:sldChg chg="addSp modSp add mod">
        <pc:chgData name="Ivan Gentile" userId="1703ff82-4a3d-4a0b-8903-a45633531d13" providerId="ADAL" clId="{A0163071-59EF-4135-970C-48BE53609E35}" dt="2024-03-25T12:08:16.056" v="3015" actId="1076"/>
        <pc:sldMkLst>
          <pc:docMk/>
          <pc:sldMk cId="4252407087" sldId="2147473149"/>
        </pc:sldMkLst>
        <pc:spChg chg="mod">
          <ac:chgData name="Ivan Gentile" userId="1703ff82-4a3d-4a0b-8903-a45633531d13" providerId="ADAL" clId="{A0163071-59EF-4135-970C-48BE53609E35}" dt="2024-03-25T11:59:30.641" v="2981" actId="113"/>
          <ac:spMkLst>
            <pc:docMk/>
            <pc:sldMk cId="4252407087" sldId="2147473149"/>
            <ac:spMk id="3" creationId="{CEDCB792-C5D9-2C09-4054-BD498620CE9C}"/>
          </ac:spMkLst>
        </pc:spChg>
        <pc:picChg chg="add mod">
          <ac:chgData name="Ivan Gentile" userId="1703ff82-4a3d-4a0b-8903-a45633531d13" providerId="ADAL" clId="{A0163071-59EF-4135-970C-48BE53609E35}" dt="2024-03-25T12:08:16.056" v="3015" actId="1076"/>
          <ac:picMkLst>
            <pc:docMk/>
            <pc:sldMk cId="4252407087" sldId="2147473149"/>
            <ac:picMk id="1026" creationId="{3A22CE6B-E594-4BF8-BB82-387C7F0017EF}"/>
          </ac:picMkLst>
        </pc:picChg>
      </pc:sldChg>
      <pc:sldMasterChg chg="delSldLayout">
        <pc:chgData name="Ivan Gentile" userId="1703ff82-4a3d-4a0b-8903-a45633531d13" providerId="ADAL" clId="{A0163071-59EF-4135-970C-48BE53609E35}" dt="2024-03-04T16:34:23.947" v="14" actId="47"/>
        <pc:sldMasterMkLst>
          <pc:docMk/>
          <pc:sldMasterMk cId="1256959574" sldId="2147483660"/>
        </pc:sldMasterMkLst>
        <pc:sldLayoutChg chg="del">
          <pc:chgData name="Ivan Gentile" userId="1703ff82-4a3d-4a0b-8903-a45633531d13" providerId="ADAL" clId="{A0163071-59EF-4135-970C-48BE53609E35}" dt="2024-03-04T16:34:23.947" v="14" actId="47"/>
          <pc:sldLayoutMkLst>
            <pc:docMk/>
            <pc:sldMasterMk cId="1256959574" sldId="2147483660"/>
            <pc:sldLayoutMk cId="664251556" sldId="2147483673"/>
          </pc:sldLayoutMkLst>
        </pc:sldLayoutChg>
      </pc:sldMasterChg>
    </pc:docChg>
  </pc:docChgLst>
  <pc:docChgLst>
    <pc:chgData name="Ivan Gentile" userId="1703ff82-4a3d-4a0b-8903-a45633531d13" providerId="ADAL" clId="{8D23378B-2ED4-4AB9-9242-D42830FE84A7}"/>
    <pc:docChg chg="undo redo custSel addSld delSld modSld sldOrd">
      <pc:chgData name="Ivan Gentile" userId="1703ff82-4a3d-4a0b-8903-a45633531d13" providerId="ADAL" clId="{8D23378B-2ED4-4AB9-9242-D42830FE84A7}" dt="2024-04-19T07:08:51.576" v="3733" actId="20577"/>
      <pc:docMkLst>
        <pc:docMk/>
      </pc:docMkLst>
      <pc:sldChg chg="modSp add mod ord">
        <pc:chgData name="Ivan Gentile" userId="1703ff82-4a3d-4a0b-8903-a45633531d13" providerId="ADAL" clId="{8D23378B-2ED4-4AB9-9242-D42830FE84A7}" dt="2024-04-19T07:08:51.576" v="3733" actId="20577"/>
        <pc:sldMkLst>
          <pc:docMk/>
          <pc:sldMk cId="240798527" sldId="256"/>
        </pc:sldMkLst>
        <pc:spChg chg="mod">
          <ac:chgData name="Ivan Gentile" userId="1703ff82-4a3d-4a0b-8903-a45633531d13" providerId="ADAL" clId="{8D23378B-2ED4-4AB9-9242-D42830FE84A7}" dt="2024-04-19T07:08:51.576" v="3733" actId="20577"/>
          <ac:spMkLst>
            <pc:docMk/>
            <pc:sldMk cId="240798527" sldId="256"/>
            <ac:spMk id="6" creationId="{4306B9A5-3351-854C-A107-58BB81C77864}"/>
          </ac:spMkLst>
        </pc:spChg>
      </pc:sldChg>
      <pc:sldChg chg="addSp modSp add mod modNotesTx">
        <pc:chgData name="Ivan Gentile" userId="1703ff82-4a3d-4a0b-8903-a45633531d13" providerId="ADAL" clId="{8D23378B-2ED4-4AB9-9242-D42830FE84A7}" dt="2024-04-19T06:21:47.467" v="3204"/>
        <pc:sldMkLst>
          <pc:docMk/>
          <pc:sldMk cId="388332531" sldId="258"/>
        </pc:sldMkLst>
        <pc:spChg chg="mod">
          <ac:chgData name="Ivan Gentile" userId="1703ff82-4a3d-4a0b-8903-a45633531d13" providerId="ADAL" clId="{8D23378B-2ED4-4AB9-9242-D42830FE84A7}" dt="2024-04-15T14:26:47.479" v="537" actId="313"/>
          <ac:spMkLst>
            <pc:docMk/>
            <pc:sldMk cId="388332531" sldId="258"/>
            <ac:spMk id="2" creationId="{C37342B4-2AC4-DCAB-C611-BBEAD3ABCFE0}"/>
          </ac:spMkLst>
        </pc:spChg>
        <pc:spChg chg="mod">
          <ac:chgData name="Ivan Gentile" userId="1703ff82-4a3d-4a0b-8903-a45633531d13" providerId="ADAL" clId="{8D23378B-2ED4-4AB9-9242-D42830FE84A7}" dt="2024-04-15T19:17:08.963" v="2640" actId="20577"/>
          <ac:spMkLst>
            <pc:docMk/>
            <pc:sldMk cId="388332531" sldId="258"/>
            <ac:spMk id="3" creationId="{1BDE6FF0-8B06-4FAA-9E40-249D1C5CF7E4}"/>
          </ac:spMkLst>
        </pc:spChg>
        <pc:picChg chg="add mod">
          <ac:chgData name="Ivan Gentile" userId="1703ff82-4a3d-4a0b-8903-a45633531d13" providerId="ADAL" clId="{8D23378B-2ED4-4AB9-9242-D42830FE84A7}" dt="2024-04-15T15:20:00.907" v="595" actId="1076"/>
          <ac:picMkLst>
            <pc:docMk/>
            <pc:sldMk cId="388332531" sldId="258"/>
            <ac:picMk id="4" creationId="{B90B2E04-12B2-1D48-A582-8317377F5256}"/>
          </ac:picMkLst>
        </pc:picChg>
        <pc:picChg chg="add mod">
          <ac:chgData name="Ivan Gentile" userId="1703ff82-4a3d-4a0b-8903-a45633531d13" providerId="ADAL" clId="{8D23378B-2ED4-4AB9-9242-D42830FE84A7}" dt="2024-04-15T15:19:58.178" v="594" actId="1076"/>
          <ac:picMkLst>
            <pc:docMk/>
            <pc:sldMk cId="388332531" sldId="258"/>
            <ac:picMk id="5" creationId="{3E2C96B7-1259-AAEC-6420-B29C90E375E5}"/>
          </ac:picMkLst>
        </pc:picChg>
        <pc:picChg chg="add mod">
          <ac:chgData name="Ivan Gentile" userId="1703ff82-4a3d-4a0b-8903-a45633531d13" providerId="ADAL" clId="{8D23378B-2ED4-4AB9-9242-D42830FE84A7}" dt="2024-04-19T06:21:47.467" v="3204"/>
          <ac:picMkLst>
            <pc:docMk/>
            <pc:sldMk cId="388332531" sldId="258"/>
            <ac:picMk id="6" creationId="{CEB6395E-66DE-E988-7D97-91E3D01C816C}"/>
          </ac:picMkLst>
        </pc:picChg>
      </pc:sldChg>
      <pc:sldChg chg="del">
        <pc:chgData name="Ivan Gentile" userId="1703ff82-4a3d-4a0b-8903-a45633531d13" providerId="ADAL" clId="{8D23378B-2ED4-4AB9-9242-D42830FE84A7}" dt="2024-04-15T15:21:10.214" v="596" actId="47"/>
        <pc:sldMkLst>
          <pc:docMk/>
          <pc:sldMk cId="3333774413" sldId="259"/>
        </pc:sldMkLst>
      </pc:sldChg>
      <pc:sldChg chg="del">
        <pc:chgData name="Ivan Gentile" userId="1703ff82-4a3d-4a0b-8903-a45633531d13" providerId="ADAL" clId="{8D23378B-2ED4-4AB9-9242-D42830FE84A7}" dt="2024-04-15T14:18:58.287" v="0" actId="47"/>
        <pc:sldMkLst>
          <pc:docMk/>
          <pc:sldMk cId="724257521" sldId="260"/>
        </pc:sldMkLst>
      </pc:sldChg>
      <pc:sldChg chg="addSp delSp modSp add mod modNotesTx">
        <pc:chgData name="Ivan Gentile" userId="1703ff82-4a3d-4a0b-8903-a45633531d13" providerId="ADAL" clId="{8D23378B-2ED4-4AB9-9242-D42830FE84A7}" dt="2024-04-19T06:21:37.096" v="3202" actId="166"/>
        <pc:sldMkLst>
          <pc:docMk/>
          <pc:sldMk cId="1824283778" sldId="260"/>
        </pc:sldMkLst>
        <pc:spChg chg="mod">
          <ac:chgData name="Ivan Gentile" userId="1703ff82-4a3d-4a0b-8903-a45633531d13" providerId="ADAL" clId="{8D23378B-2ED4-4AB9-9242-D42830FE84A7}" dt="2024-04-15T15:52:00.202" v="1591" actId="20577"/>
          <ac:spMkLst>
            <pc:docMk/>
            <pc:sldMk cId="1824283778" sldId="260"/>
            <ac:spMk id="2" creationId="{258CB0ED-877B-3699-27D2-F73C04F1FCC6}"/>
          </ac:spMkLst>
        </pc:spChg>
        <pc:spChg chg="del">
          <ac:chgData name="Ivan Gentile" userId="1703ff82-4a3d-4a0b-8903-a45633531d13" providerId="ADAL" clId="{8D23378B-2ED4-4AB9-9242-D42830FE84A7}" dt="2024-04-15T15:52:07.384" v="1592" actId="478"/>
          <ac:spMkLst>
            <pc:docMk/>
            <pc:sldMk cId="1824283778" sldId="260"/>
            <ac:spMk id="3" creationId="{D3EA316E-C8D8-7B25-3921-D8C931AB9F51}"/>
          </ac:spMkLst>
        </pc:spChg>
        <pc:spChg chg="add mod">
          <ac:chgData name="Ivan Gentile" userId="1703ff82-4a3d-4a0b-8903-a45633531d13" providerId="ADAL" clId="{8D23378B-2ED4-4AB9-9242-D42830FE84A7}" dt="2024-04-15T15:52:07.384" v="1592" actId="478"/>
          <ac:spMkLst>
            <pc:docMk/>
            <pc:sldMk cId="1824283778" sldId="260"/>
            <ac:spMk id="5" creationId="{D6B62643-CDBA-A19A-0F34-F510C63DFA23}"/>
          </ac:spMkLst>
        </pc:spChg>
        <pc:picChg chg="add mod">
          <ac:chgData name="Ivan Gentile" userId="1703ff82-4a3d-4a0b-8903-a45633531d13" providerId="ADAL" clId="{8D23378B-2ED4-4AB9-9242-D42830FE84A7}" dt="2024-04-19T06:21:31.222" v="3201"/>
          <ac:picMkLst>
            <pc:docMk/>
            <pc:sldMk cId="1824283778" sldId="260"/>
            <ac:picMk id="3" creationId="{87C14748-5678-52FA-7E4F-1893A9B85A8A}"/>
          </ac:picMkLst>
        </pc:picChg>
        <pc:picChg chg="add mod ord">
          <ac:chgData name="Ivan Gentile" userId="1703ff82-4a3d-4a0b-8903-a45633531d13" providerId="ADAL" clId="{8D23378B-2ED4-4AB9-9242-D42830FE84A7}" dt="2024-04-19T06:21:37.096" v="3202" actId="166"/>
          <ac:picMkLst>
            <pc:docMk/>
            <pc:sldMk cId="1824283778" sldId="260"/>
            <ac:picMk id="7" creationId="{60EFC7A6-0754-5049-BE9A-129099726EA5}"/>
          </ac:picMkLst>
        </pc:picChg>
      </pc:sldChg>
      <pc:sldChg chg="add del">
        <pc:chgData name="Ivan Gentile" userId="1703ff82-4a3d-4a0b-8903-a45633531d13" providerId="ADAL" clId="{8D23378B-2ED4-4AB9-9242-D42830FE84A7}" dt="2024-04-15T16:01:08.247" v="1688" actId="47"/>
        <pc:sldMkLst>
          <pc:docMk/>
          <pc:sldMk cId="1872618565" sldId="261"/>
        </pc:sldMkLst>
      </pc:sldChg>
      <pc:sldChg chg="addSp delSp modSp add mod modNotesTx">
        <pc:chgData name="Ivan Gentile" userId="1703ff82-4a3d-4a0b-8903-a45633531d13" providerId="ADAL" clId="{8D23378B-2ED4-4AB9-9242-D42830FE84A7}" dt="2024-04-19T06:21:01.411" v="3195"/>
        <pc:sldMkLst>
          <pc:docMk/>
          <pc:sldMk cId="587723019" sldId="262"/>
        </pc:sldMkLst>
        <pc:spChg chg="mod">
          <ac:chgData name="Ivan Gentile" userId="1703ff82-4a3d-4a0b-8903-a45633531d13" providerId="ADAL" clId="{8D23378B-2ED4-4AB9-9242-D42830FE84A7}" dt="2024-04-15T17:08:21.227" v="1834" actId="20577"/>
          <ac:spMkLst>
            <pc:docMk/>
            <pc:sldMk cId="587723019" sldId="262"/>
            <ac:spMk id="2" creationId="{7619C2D8-87A3-81B9-B730-1557C6CE511B}"/>
          </ac:spMkLst>
        </pc:spChg>
        <pc:spChg chg="add del">
          <ac:chgData name="Ivan Gentile" userId="1703ff82-4a3d-4a0b-8903-a45633531d13" providerId="ADAL" clId="{8D23378B-2ED4-4AB9-9242-D42830FE84A7}" dt="2024-04-15T17:08:33.797" v="1836" actId="478"/>
          <ac:spMkLst>
            <pc:docMk/>
            <pc:sldMk cId="587723019" sldId="262"/>
            <ac:spMk id="3" creationId="{69D8BC01-FE24-E3DA-AE38-C1BC0C56FF54}"/>
          </ac:spMkLst>
        </pc:spChg>
        <pc:spChg chg="del mod">
          <ac:chgData name="Ivan Gentile" userId="1703ff82-4a3d-4a0b-8903-a45633531d13" providerId="ADAL" clId="{8D23378B-2ED4-4AB9-9242-D42830FE84A7}" dt="2024-04-15T16:48:40.380" v="1730" actId="478"/>
          <ac:spMkLst>
            <pc:docMk/>
            <pc:sldMk cId="587723019" sldId="262"/>
            <ac:spMk id="3" creationId="{A87D595A-A4E2-9581-5F31-DD17EE63E130}"/>
          </ac:spMkLst>
        </pc:spChg>
        <pc:spChg chg="add mod">
          <ac:chgData name="Ivan Gentile" userId="1703ff82-4a3d-4a0b-8903-a45633531d13" providerId="ADAL" clId="{8D23378B-2ED4-4AB9-9242-D42830FE84A7}" dt="2024-04-15T17:11:53.596" v="1898" actId="1076"/>
          <ac:spMkLst>
            <pc:docMk/>
            <pc:sldMk cId="587723019" sldId="262"/>
            <ac:spMk id="4" creationId="{CFBAB0DD-9C3C-B26A-C238-46933B64C3F1}"/>
          </ac:spMkLst>
        </pc:spChg>
        <pc:picChg chg="add mod">
          <ac:chgData name="Ivan Gentile" userId="1703ff82-4a3d-4a0b-8903-a45633531d13" providerId="ADAL" clId="{8D23378B-2ED4-4AB9-9242-D42830FE84A7}" dt="2024-04-19T06:21:01.411" v="3195"/>
          <ac:picMkLst>
            <pc:docMk/>
            <pc:sldMk cId="587723019" sldId="262"/>
            <ac:picMk id="3" creationId="{D50E4766-61DE-4619-E1DA-90E310007039}"/>
          </ac:picMkLst>
        </pc:picChg>
        <pc:picChg chg="add mod">
          <ac:chgData name="Ivan Gentile" userId="1703ff82-4a3d-4a0b-8903-a45633531d13" providerId="ADAL" clId="{8D23378B-2ED4-4AB9-9242-D42830FE84A7}" dt="2024-04-15T16:48:13.515" v="1723" actId="1076"/>
          <ac:picMkLst>
            <pc:docMk/>
            <pc:sldMk cId="587723019" sldId="262"/>
            <ac:picMk id="5" creationId="{153B5491-FC5C-430E-C05B-8AAB34D9D11B}"/>
          </ac:picMkLst>
        </pc:picChg>
      </pc:sldChg>
      <pc:sldChg chg="add mod modShow">
        <pc:chgData name="Ivan Gentile" userId="1703ff82-4a3d-4a0b-8903-a45633531d13" providerId="ADAL" clId="{8D23378B-2ED4-4AB9-9242-D42830FE84A7}" dt="2024-04-15T18:15:47.187" v="2639" actId="729"/>
        <pc:sldMkLst>
          <pc:docMk/>
          <pc:sldMk cId="1135913498" sldId="263"/>
        </pc:sldMkLst>
      </pc:sldChg>
      <pc:sldChg chg="del">
        <pc:chgData name="Ivan Gentile" userId="1703ff82-4a3d-4a0b-8903-a45633531d13" providerId="ADAL" clId="{8D23378B-2ED4-4AB9-9242-D42830FE84A7}" dt="2024-04-15T15:21:10.214" v="596" actId="47"/>
        <pc:sldMkLst>
          <pc:docMk/>
          <pc:sldMk cId="983047321" sldId="266"/>
        </pc:sldMkLst>
      </pc:sldChg>
      <pc:sldChg chg="del">
        <pc:chgData name="Ivan Gentile" userId="1703ff82-4a3d-4a0b-8903-a45633531d13" providerId="ADAL" clId="{8D23378B-2ED4-4AB9-9242-D42830FE84A7}" dt="2024-04-15T15:21:10.214" v="596" actId="47"/>
        <pc:sldMkLst>
          <pc:docMk/>
          <pc:sldMk cId="2826615045" sldId="267"/>
        </pc:sldMkLst>
      </pc:sldChg>
      <pc:sldChg chg="del">
        <pc:chgData name="Ivan Gentile" userId="1703ff82-4a3d-4a0b-8903-a45633531d13" providerId="ADAL" clId="{8D23378B-2ED4-4AB9-9242-D42830FE84A7}" dt="2024-04-15T15:21:10.214" v="596" actId="47"/>
        <pc:sldMkLst>
          <pc:docMk/>
          <pc:sldMk cId="3761567387" sldId="268"/>
        </pc:sldMkLst>
      </pc:sldChg>
      <pc:sldChg chg="del">
        <pc:chgData name="Ivan Gentile" userId="1703ff82-4a3d-4a0b-8903-a45633531d13" providerId="ADAL" clId="{8D23378B-2ED4-4AB9-9242-D42830FE84A7}" dt="2024-04-15T15:21:10.214" v="596" actId="47"/>
        <pc:sldMkLst>
          <pc:docMk/>
          <pc:sldMk cId="3638757758" sldId="271"/>
        </pc:sldMkLst>
      </pc:sldChg>
      <pc:sldChg chg="del">
        <pc:chgData name="Ivan Gentile" userId="1703ff82-4a3d-4a0b-8903-a45633531d13" providerId="ADAL" clId="{8D23378B-2ED4-4AB9-9242-D42830FE84A7}" dt="2024-04-15T15:21:10.214" v="596" actId="47"/>
        <pc:sldMkLst>
          <pc:docMk/>
          <pc:sldMk cId="3047295777" sldId="272"/>
        </pc:sldMkLst>
      </pc:sldChg>
      <pc:sldChg chg="del">
        <pc:chgData name="Ivan Gentile" userId="1703ff82-4a3d-4a0b-8903-a45633531d13" providerId="ADAL" clId="{8D23378B-2ED4-4AB9-9242-D42830FE84A7}" dt="2024-04-15T15:21:10.214" v="596" actId="47"/>
        <pc:sldMkLst>
          <pc:docMk/>
          <pc:sldMk cId="2944079386" sldId="274"/>
        </pc:sldMkLst>
      </pc:sldChg>
      <pc:sldChg chg="del">
        <pc:chgData name="Ivan Gentile" userId="1703ff82-4a3d-4a0b-8903-a45633531d13" providerId="ADAL" clId="{8D23378B-2ED4-4AB9-9242-D42830FE84A7}" dt="2024-04-15T15:21:10.214" v="596" actId="47"/>
        <pc:sldMkLst>
          <pc:docMk/>
          <pc:sldMk cId="503666152" sldId="275"/>
        </pc:sldMkLst>
      </pc:sldChg>
      <pc:sldChg chg="del">
        <pc:chgData name="Ivan Gentile" userId="1703ff82-4a3d-4a0b-8903-a45633531d13" providerId="ADAL" clId="{8D23378B-2ED4-4AB9-9242-D42830FE84A7}" dt="2024-04-15T15:21:10.214" v="596" actId="47"/>
        <pc:sldMkLst>
          <pc:docMk/>
          <pc:sldMk cId="1491987287" sldId="281"/>
        </pc:sldMkLst>
      </pc:sldChg>
      <pc:sldChg chg="del">
        <pc:chgData name="Ivan Gentile" userId="1703ff82-4a3d-4a0b-8903-a45633531d13" providerId="ADAL" clId="{8D23378B-2ED4-4AB9-9242-D42830FE84A7}" dt="2024-04-15T15:21:10.214" v="596" actId="47"/>
        <pc:sldMkLst>
          <pc:docMk/>
          <pc:sldMk cId="3251806217" sldId="285"/>
        </pc:sldMkLst>
      </pc:sldChg>
      <pc:sldChg chg="del">
        <pc:chgData name="Ivan Gentile" userId="1703ff82-4a3d-4a0b-8903-a45633531d13" providerId="ADAL" clId="{8D23378B-2ED4-4AB9-9242-D42830FE84A7}" dt="2024-04-15T15:21:10.214" v="596" actId="47"/>
        <pc:sldMkLst>
          <pc:docMk/>
          <pc:sldMk cId="1932043198" sldId="287"/>
        </pc:sldMkLst>
      </pc:sldChg>
      <pc:sldChg chg="del">
        <pc:chgData name="Ivan Gentile" userId="1703ff82-4a3d-4a0b-8903-a45633531d13" providerId="ADAL" clId="{8D23378B-2ED4-4AB9-9242-D42830FE84A7}" dt="2024-04-15T15:21:10.214" v="596" actId="47"/>
        <pc:sldMkLst>
          <pc:docMk/>
          <pc:sldMk cId="1355771830" sldId="290"/>
        </pc:sldMkLst>
      </pc:sldChg>
      <pc:sldChg chg="del">
        <pc:chgData name="Ivan Gentile" userId="1703ff82-4a3d-4a0b-8903-a45633531d13" providerId="ADAL" clId="{8D23378B-2ED4-4AB9-9242-D42830FE84A7}" dt="2024-04-15T15:21:10.214" v="596" actId="47"/>
        <pc:sldMkLst>
          <pc:docMk/>
          <pc:sldMk cId="2224498769" sldId="291"/>
        </pc:sldMkLst>
      </pc:sldChg>
      <pc:sldChg chg="del">
        <pc:chgData name="Ivan Gentile" userId="1703ff82-4a3d-4a0b-8903-a45633531d13" providerId="ADAL" clId="{8D23378B-2ED4-4AB9-9242-D42830FE84A7}" dt="2024-04-15T15:21:10.214" v="596" actId="47"/>
        <pc:sldMkLst>
          <pc:docMk/>
          <pc:sldMk cId="1664277489" sldId="292"/>
        </pc:sldMkLst>
      </pc:sldChg>
      <pc:sldChg chg="del">
        <pc:chgData name="Ivan Gentile" userId="1703ff82-4a3d-4a0b-8903-a45633531d13" providerId="ADAL" clId="{8D23378B-2ED4-4AB9-9242-D42830FE84A7}" dt="2024-04-15T15:21:10.214" v="596" actId="47"/>
        <pc:sldMkLst>
          <pc:docMk/>
          <pc:sldMk cId="1940893355" sldId="293"/>
        </pc:sldMkLst>
      </pc:sldChg>
      <pc:sldChg chg="modSp mod">
        <pc:chgData name="Ivan Gentile" userId="1703ff82-4a3d-4a0b-8903-a45633531d13" providerId="ADAL" clId="{8D23378B-2ED4-4AB9-9242-D42830FE84A7}" dt="2024-04-15T15:21:15.055" v="605" actId="20577"/>
        <pc:sldMkLst>
          <pc:docMk/>
          <pc:sldMk cId="3388411227" sldId="294"/>
        </pc:sldMkLst>
        <pc:spChg chg="mod">
          <ac:chgData name="Ivan Gentile" userId="1703ff82-4a3d-4a0b-8903-a45633531d13" providerId="ADAL" clId="{8D23378B-2ED4-4AB9-9242-D42830FE84A7}" dt="2024-04-15T15:21:15.055" v="605" actId="20577"/>
          <ac:spMkLst>
            <pc:docMk/>
            <pc:sldMk cId="3388411227" sldId="294"/>
            <ac:spMk id="10" creationId="{2577E8B8-C57E-7CFE-2980-6EEB4067E461}"/>
          </ac:spMkLst>
        </pc:spChg>
      </pc:sldChg>
      <pc:sldChg chg="del">
        <pc:chgData name="Ivan Gentile" userId="1703ff82-4a3d-4a0b-8903-a45633531d13" providerId="ADAL" clId="{8D23378B-2ED4-4AB9-9242-D42830FE84A7}" dt="2024-04-15T15:21:10.214" v="596" actId="47"/>
        <pc:sldMkLst>
          <pc:docMk/>
          <pc:sldMk cId="2112587487" sldId="295"/>
        </pc:sldMkLst>
      </pc:sldChg>
      <pc:sldChg chg="del">
        <pc:chgData name="Ivan Gentile" userId="1703ff82-4a3d-4a0b-8903-a45633531d13" providerId="ADAL" clId="{8D23378B-2ED4-4AB9-9242-D42830FE84A7}" dt="2024-04-15T15:21:10.214" v="596" actId="47"/>
        <pc:sldMkLst>
          <pc:docMk/>
          <pc:sldMk cId="2148463235" sldId="297"/>
        </pc:sldMkLst>
      </pc:sldChg>
      <pc:sldChg chg="del">
        <pc:chgData name="Ivan Gentile" userId="1703ff82-4a3d-4a0b-8903-a45633531d13" providerId="ADAL" clId="{8D23378B-2ED4-4AB9-9242-D42830FE84A7}" dt="2024-04-15T15:21:10.214" v="596" actId="47"/>
        <pc:sldMkLst>
          <pc:docMk/>
          <pc:sldMk cId="1243383784" sldId="302"/>
        </pc:sldMkLst>
      </pc:sldChg>
      <pc:sldChg chg="del">
        <pc:chgData name="Ivan Gentile" userId="1703ff82-4a3d-4a0b-8903-a45633531d13" providerId="ADAL" clId="{8D23378B-2ED4-4AB9-9242-D42830FE84A7}" dt="2024-04-15T15:21:10.214" v="596" actId="47"/>
        <pc:sldMkLst>
          <pc:docMk/>
          <pc:sldMk cId="3672521465" sldId="303"/>
        </pc:sldMkLst>
      </pc:sldChg>
      <pc:sldChg chg="del">
        <pc:chgData name="Ivan Gentile" userId="1703ff82-4a3d-4a0b-8903-a45633531d13" providerId="ADAL" clId="{8D23378B-2ED4-4AB9-9242-D42830FE84A7}" dt="2024-04-15T15:21:10.214" v="596" actId="47"/>
        <pc:sldMkLst>
          <pc:docMk/>
          <pc:sldMk cId="4057803053" sldId="305"/>
        </pc:sldMkLst>
      </pc:sldChg>
      <pc:sldChg chg="modSp add del mod">
        <pc:chgData name="Ivan Gentile" userId="1703ff82-4a3d-4a0b-8903-a45633531d13" providerId="ADAL" clId="{8D23378B-2ED4-4AB9-9242-D42830FE84A7}" dt="2024-04-19T06:20:17.460" v="3187" actId="20577"/>
        <pc:sldMkLst>
          <pc:docMk/>
          <pc:sldMk cId="4064768482" sldId="305"/>
        </pc:sldMkLst>
        <pc:spChg chg="mod">
          <ac:chgData name="Ivan Gentile" userId="1703ff82-4a3d-4a0b-8903-a45633531d13" providerId="ADAL" clId="{8D23378B-2ED4-4AB9-9242-D42830FE84A7}" dt="2024-04-19T06:20:17.460" v="3187" actId="20577"/>
          <ac:spMkLst>
            <pc:docMk/>
            <pc:sldMk cId="4064768482" sldId="305"/>
            <ac:spMk id="9" creationId="{FE2EBA05-71A1-453F-A1C0-AE29B352D16D}"/>
          </ac:spMkLst>
        </pc:spChg>
        <pc:spChg chg="mod">
          <ac:chgData name="Ivan Gentile" userId="1703ff82-4a3d-4a0b-8903-a45633531d13" providerId="ADAL" clId="{8D23378B-2ED4-4AB9-9242-D42830FE84A7}" dt="2024-04-19T06:20:15.270" v="3177" actId="20577"/>
          <ac:spMkLst>
            <pc:docMk/>
            <pc:sldMk cId="4064768482" sldId="305"/>
            <ac:spMk id="11" creationId="{EBCEAC1F-7375-77B5-70AD-988D0B712230}"/>
          </ac:spMkLst>
        </pc:spChg>
      </pc:sldChg>
      <pc:sldChg chg="del">
        <pc:chgData name="Ivan Gentile" userId="1703ff82-4a3d-4a0b-8903-a45633531d13" providerId="ADAL" clId="{8D23378B-2ED4-4AB9-9242-D42830FE84A7}" dt="2024-04-15T15:21:10.214" v="596" actId="47"/>
        <pc:sldMkLst>
          <pc:docMk/>
          <pc:sldMk cId="1832308451" sldId="306"/>
        </pc:sldMkLst>
      </pc:sldChg>
      <pc:sldChg chg="del">
        <pc:chgData name="Ivan Gentile" userId="1703ff82-4a3d-4a0b-8903-a45633531d13" providerId="ADAL" clId="{8D23378B-2ED4-4AB9-9242-D42830FE84A7}" dt="2024-04-15T15:21:10.214" v="596" actId="47"/>
        <pc:sldMkLst>
          <pc:docMk/>
          <pc:sldMk cId="396143513" sldId="308"/>
        </pc:sldMkLst>
      </pc:sldChg>
      <pc:sldChg chg="del">
        <pc:chgData name="Ivan Gentile" userId="1703ff82-4a3d-4a0b-8903-a45633531d13" providerId="ADAL" clId="{8D23378B-2ED4-4AB9-9242-D42830FE84A7}" dt="2024-04-15T15:21:10.214" v="596" actId="47"/>
        <pc:sldMkLst>
          <pc:docMk/>
          <pc:sldMk cId="4136034824" sldId="309"/>
        </pc:sldMkLst>
      </pc:sldChg>
      <pc:sldChg chg="del">
        <pc:chgData name="Ivan Gentile" userId="1703ff82-4a3d-4a0b-8903-a45633531d13" providerId="ADAL" clId="{8D23378B-2ED4-4AB9-9242-D42830FE84A7}" dt="2024-04-15T15:21:10.214" v="596" actId="47"/>
        <pc:sldMkLst>
          <pc:docMk/>
          <pc:sldMk cId="979393538" sldId="312"/>
        </pc:sldMkLst>
      </pc:sldChg>
      <pc:sldChg chg="del">
        <pc:chgData name="Ivan Gentile" userId="1703ff82-4a3d-4a0b-8903-a45633531d13" providerId="ADAL" clId="{8D23378B-2ED4-4AB9-9242-D42830FE84A7}" dt="2024-04-15T15:21:10.214" v="596" actId="47"/>
        <pc:sldMkLst>
          <pc:docMk/>
          <pc:sldMk cId="3231370554" sldId="313"/>
        </pc:sldMkLst>
      </pc:sldChg>
      <pc:sldChg chg="del">
        <pc:chgData name="Ivan Gentile" userId="1703ff82-4a3d-4a0b-8903-a45633531d13" providerId="ADAL" clId="{8D23378B-2ED4-4AB9-9242-D42830FE84A7}" dt="2024-04-15T15:21:10.214" v="596" actId="47"/>
        <pc:sldMkLst>
          <pc:docMk/>
          <pc:sldMk cId="2503671340" sldId="314"/>
        </pc:sldMkLst>
      </pc:sldChg>
      <pc:sldChg chg="addSp delSp modSp mod ord">
        <pc:chgData name="Ivan Gentile" userId="1703ff82-4a3d-4a0b-8903-a45633531d13" providerId="ADAL" clId="{8D23378B-2ED4-4AB9-9242-D42830FE84A7}" dt="2024-04-19T06:21:52.732" v="3206"/>
        <pc:sldMkLst>
          <pc:docMk/>
          <pc:sldMk cId="958987845" sldId="2147473138"/>
        </pc:sldMkLst>
        <pc:spChg chg="add del">
          <ac:chgData name="Ivan Gentile" userId="1703ff82-4a3d-4a0b-8903-a45633531d13" providerId="ADAL" clId="{8D23378B-2ED4-4AB9-9242-D42830FE84A7}" dt="2024-04-15T14:24:39.703" v="501" actId="478"/>
          <ac:spMkLst>
            <pc:docMk/>
            <pc:sldMk cId="958987845" sldId="2147473138"/>
            <ac:spMk id="5" creationId="{1403F2BF-730A-B4C1-37EA-0F9ABFE26850}"/>
          </ac:spMkLst>
        </pc:spChg>
        <pc:spChg chg="mod">
          <ac:chgData name="Ivan Gentile" userId="1703ff82-4a3d-4a0b-8903-a45633531d13" providerId="ADAL" clId="{8D23378B-2ED4-4AB9-9242-D42830FE84A7}" dt="2024-04-15T15:22:17.433" v="614" actId="20577"/>
          <ac:spMkLst>
            <pc:docMk/>
            <pc:sldMk cId="958987845" sldId="2147473138"/>
            <ac:spMk id="6" creationId="{B8EBB39C-3725-403A-A5A7-E62CAA851624}"/>
          </ac:spMkLst>
        </pc:spChg>
        <pc:spChg chg="mod">
          <ac:chgData name="Ivan Gentile" userId="1703ff82-4a3d-4a0b-8903-a45633531d13" providerId="ADAL" clId="{8D23378B-2ED4-4AB9-9242-D42830FE84A7}" dt="2024-04-15T15:22:02.278" v="610" actId="403"/>
          <ac:spMkLst>
            <pc:docMk/>
            <pc:sldMk cId="958987845" sldId="2147473138"/>
            <ac:spMk id="12" creationId="{36F80942-E249-4AC1-BA70-71FB0920EE67}"/>
          </ac:spMkLst>
        </pc:spChg>
        <pc:spChg chg="mod">
          <ac:chgData name="Ivan Gentile" userId="1703ff82-4a3d-4a0b-8903-a45633531d13" providerId="ADAL" clId="{8D23378B-2ED4-4AB9-9242-D42830FE84A7}" dt="2024-04-15T14:26:24.258" v="535" actId="20577"/>
          <ac:spMkLst>
            <pc:docMk/>
            <pc:sldMk cId="958987845" sldId="2147473138"/>
            <ac:spMk id="17" creationId="{7993B009-592A-40CB-AEDE-36089E6FCADC}"/>
          </ac:spMkLst>
        </pc:spChg>
        <pc:picChg chg="add mod">
          <ac:chgData name="Ivan Gentile" userId="1703ff82-4a3d-4a0b-8903-a45633531d13" providerId="ADAL" clId="{8D23378B-2ED4-4AB9-9242-D42830FE84A7}" dt="2024-04-19T06:21:50.905" v="3205"/>
          <ac:picMkLst>
            <pc:docMk/>
            <pc:sldMk cId="958987845" sldId="2147473138"/>
            <ac:picMk id="2" creationId="{B93F0EEF-9CD2-D6B8-CF77-BA01F77C742B}"/>
          </ac:picMkLst>
        </pc:picChg>
        <pc:picChg chg="add mod">
          <ac:chgData name="Ivan Gentile" userId="1703ff82-4a3d-4a0b-8903-a45633531d13" providerId="ADAL" clId="{8D23378B-2ED4-4AB9-9242-D42830FE84A7}" dt="2024-04-19T06:21:52.732" v="3206"/>
          <ac:picMkLst>
            <pc:docMk/>
            <pc:sldMk cId="958987845" sldId="2147473138"/>
            <ac:picMk id="5" creationId="{3BF2E5B4-2454-4919-0BD8-E66D22D4DA81}"/>
          </ac:picMkLst>
        </pc:picChg>
      </pc:sldChg>
      <pc:sldChg chg="del">
        <pc:chgData name="Ivan Gentile" userId="1703ff82-4a3d-4a0b-8903-a45633531d13" providerId="ADAL" clId="{8D23378B-2ED4-4AB9-9242-D42830FE84A7}" dt="2024-04-15T15:21:10.214" v="596" actId="47"/>
        <pc:sldMkLst>
          <pc:docMk/>
          <pc:sldMk cId="3280827461" sldId="2147473140"/>
        </pc:sldMkLst>
      </pc:sldChg>
      <pc:sldChg chg="del">
        <pc:chgData name="Ivan Gentile" userId="1703ff82-4a3d-4a0b-8903-a45633531d13" providerId="ADAL" clId="{8D23378B-2ED4-4AB9-9242-D42830FE84A7}" dt="2024-04-15T15:21:10.214" v="596" actId="47"/>
        <pc:sldMkLst>
          <pc:docMk/>
          <pc:sldMk cId="3280942069" sldId="2147473141"/>
        </pc:sldMkLst>
      </pc:sldChg>
      <pc:sldChg chg="del">
        <pc:chgData name="Ivan Gentile" userId="1703ff82-4a3d-4a0b-8903-a45633531d13" providerId="ADAL" clId="{8D23378B-2ED4-4AB9-9242-D42830FE84A7}" dt="2024-04-15T15:21:10.214" v="596" actId="47"/>
        <pc:sldMkLst>
          <pc:docMk/>
          <pc:sldMk cId="1750509040" sldId="2147473142"/>
        </pc:sldMkLst>
      </pc:sldChg>
      <pc:sldChg chg="del">
        <pc:chgData name="Ivan Gentile" userId="1703ff82-4a3d-4a0b-8903-a45633531d13" providerId="ADAL" clId="{8D23378B-2ED4-4AB9-9242-D42830FE84A7}" dt="2024-04-15T15:21:10.214" v="596" actId="47"/>
        <pc:sldMkLst>
          <pc:docMk/>
          <pc:sldMk cId="249750453" sldId="2147473143"/>
        </pc:sldMkLst>
      </pc:sldChg>
      <pc:sldChg chg="del">
        <pc:chgData name="Ivan Gentile" userId="1703ff82-4a3d-4a0b-8903-a45633531d13" providerId="ADAL" clId="{8D23378B-2ED4-4AB9-9242-D42830FE84A7}" dt="2024-04-15T15:21:10.214" v="596" actId="47"/>
        <pc:sldMkLst>
          <pc:docMk/>
          <pc:sldMk cId="2555857908" sldId="2147473144"/>
        </pc:sldMkLst>
      </pc:sldChg>
      <pc:sldChg chg="del">
        <pc:chgData name="Ivan Gentile" userId="1703ff82-4a3d-4a0b-8903-a45633531d13" providerId="ADAL" clId="{8D23378B-2ED4-4AB9-9242-D42830FE84A7}" dt="2024-04-15T14:18:59.615" v="1" actId="47"/>
        <pc:sldMkLst>
          <pc:docMk/>
          <pc:sldMk cId="1039389588" sldId="2147473145"/>
        </pc:sldMkLst>
      </pc:sldChg>
      <pc:sldChg chg="del">
        <pc:chgData name="Ivan Gentile" userId="1703ff82-4a3d-4a0b-8903-a45633531d13" providerId="ADAL" clId="{8D23378B-2ED4-4AB9-9242-D42830FE84A7}" dt="2024-04-15T15:21:10.214" v="596" actId="47"/>
        <pc:sldMkLst>
          <pc:docMk/>
          <pc:sldMk cId="104523221" sldId="2147473146"/>
        </pc:sldMkLst>
      </pc:sldChg>
      <pc:sldChg chg="del">
        <pc:chgData name="Ivan Gentile" userId="1703ff82-4a3d-4a0b-8903-a45633531d13" providerId="ADAL" clId="{8D23378B-2ED4-4AB9-9242-D42830FE84A7}" dt="2024-04-15T15:21:10.214" v="596" actId="47"/>
        <pc:sldMkLst>
          <pc:docMk/>
          <pc:sldMk cId="3352805963" sldId="2147473147"/>
        </pc:sldMkLst>
      </pc:sldChg>
      <pc:sldChg chg="del">
        <pc:chgData name="Ivan Gentile" userId="1703ff82-4a3d-4a0b-8903-a45633531d13" providerId="ADAL" clId="{8D23378B-2ED4-4AB9-9242-D42830FE84A7}" dt="2024-04-15T15:21:10.214" v="596" actId="47"/>
        <pc:sldMkLst>
          <pc:docMk/>
          <pc:sldMk cId="264492658" sldId="2147473148"/>
        </pc:sldMkLst>
      </pc:sldChg>
      <pc:sldChg chg="del">
        <pc:chgData name="Ivan Gentile" userId="1703ff82-4a3d-4a0b-8903-a45633531d13" providerId="ADAL" clId="{8D23378B-2ED4-4AB9-9242-D42830FE84A7}" dt="2024-04-15T15:21:10.214" v="596" actId="47"/>
        <pc:sldMkLst>
          <pc:docMk/>
          <pc:sldMk cId="4252407087" sldId="2147473149"/>
        </pc:sldMkLst>
      </pc:sldChg>
      <pc:sldChg chg="addSp delSp modSp add mod">
        <pc:chgData name="Ivan Gentile" userId="1703ff82-4a3d-4a0b-8903-a45633531d13" providerId="ADAL" clId="{8D23378B-2ED4-4AB9-9242-D42830FE84A7}" dt="2024-04-19T06:21:25" v="3200" actId="166"/>
        <pc:sldMkLst>
          <pc:docMk/>
          <pc:sldMk cId="963827908" sldId="2147473150"/>
        </pc:sldMkLst>
        <pc:spChg chg="mod">
          <ac:chgData name="Ivan Gentile" userId="1703ff82-4a3d-4a0b-8903-a45633531d13" providerId="ADAL" clId="{8D23378B-2ED4-4AB9-9242-D42830FE84A7}" dt="2024-04-15T16:48:23.706" v="1728" actId="20577"/>
          <ac:spMkLst>
            <pc:docMk/>
            <pc:sldMk cId="963827908" sldId="2147473150"/>
            <ac:spMk id="2" creationId="{E55CC598-E9C1-38EA-B4FD-382A611B5291}"/>
          </ac:spMkLst>
        </pc:spChg>
        <pc:spChg chg="del">
          <ac:chgData name="Ivan Gentile" userId="1703ff82-4a3d-4a0b-8903-a45633531d13" providerId="ADAL" clId="{8D23378B-2ED4-4AB9-9242-D42830FE84A7}" dt="2024-04-15T15:52:37.629" v="1596" actId="478"/>
          <ac:spMkLst>
            <pc:docMk/>
            <pc:sldMk cId="963827908" sldId="2147473150"/>
            <ac:spMk id="3" creationId="{E331A0AF-4080-57E8-D6ED-A7B13AC1786A}"/>
          </ac:spMkLst>
        </pc:spChg>
        <pc:spChg chg="add mod">
          <ac:chgData name="Ivan Gentile" userId="1703ff82-4a3d-4a0b-8903-a45633531d13" providerId="ADAL" clId="{8D23378B-2ED4-4AB9-9242-D42830FE84A7}" dt="2024-04-15T15:52:37.629" v="1596" actId="478"/>
          <ac:spMkLst>
            <pc:docMk/>
            <pc:sldMk cId="963827908" sldId="2147473150"/>
            <ac:spMk id="5" creationId="{7F6BC2AA-1DFF-C62E-F7E1-0622F996A99F}"/>
          </ac:spMkLst>
        </pc:spChg>
        <pc:picChg chg="add mod">
          <ac:chgData name="Ivan Gentile" userId="1703ff82-4a3d-4a0b-8903-a45633531d13" providerId="ADAL" clId="{8D23378B-2ED4-4AB9-9242-D42830FE84A7}" dt="2024-04-19T06:21:03.099" v="3196"/>
          <ac:picMkLst>
            <pc:docMk/>
            <pc:sldMk cId="963827908" sldId="2147473150"/>
            <ac:picMk id="3" creationId="{B4FC385C-7C55-790B-32EA-1AA33807B740}"/>
          </ac:picMkLst>
        </pc:picChg>
        <pc:picChg chg="add mod ord">
          <ac:chgData name="Ivan Gentile" userId="1703ff82-4a3d-4a0b-8903-a45633531d13" providerId="ADAL" clId="{8D23378B-2ED4-4AB9-9242-D42830FE84A7}" dt="2024-04-19T06:21:25" v="3200" actId="166"/>
          <ac:picMkLst>
            <pc:docMk/>
            <pc:sldMk cId="963827908" sldId="2147473150"/>
            <ac:picMk id="7" creationId="{4120C316-4C11-6A00-E2B1-90035A397DCB}"/>
          </ac:picMkLst>
        </pc:picChg>
        <pc:cxnChg chg="add mod">
          <ac:chgData name="Ivan Gentile" userId="1703ff82-4a3d-4a0b-8903-a45633531d13" providerId="ADAL" clId="{8D23378B-2ED4-4AB9-9242-D42830FE84A7}" dt="2024-04-15T15:59:35.311" v="1686" actId="1076"/>
          <ac:cxnSpMkLst>
            <pc:docMk/>
            <pc:sldMk cId="963827908" sldId="2147473150"/>
            <ac:cxnSpMk id="8" creationId="{E14A9FD4-9DC6-D9AA-BDCD-4E58DE37E8D3}"/>
          </ac:cxnSpMkLst>
        </pc:cxnChg>
        <pc:cxnChg chg="add mod">
          <ac:chgData name="Ivan Gentile" userId="1703ff82-4a3d-4a0b-8903-a45633531d13" providerId="ADAL" clId="{8D23378B-2ED4-4AB9-9242-D42830FE84A7}" dt="2024-04-15T15:59:43.880" v="1687" actId="571"/>
          <ac:cxnSpMkLst>
            <pc:docMk/>
            <pc:sldMk cId="963827908" sldId="2147473150"/>
            <ac:cxnSpMk id="11" creationId="{C646324C-466C-3F90-5F44-F2C4120BFC80}"/>
          </ac:cxnSpMkLst>
        </pc:cxnChg>
      </pc:sldChg>
      <pc:sldChg chg="addSp modSp add mod">
        <pc:chgData name="Ivan Gentile" userId="1703ff82-4a3d-4a0b-8903-a45633531d13" providerId="ADAL" clId="{8D23378B-2ED4-4AB9-9242-D42830FE84A7}" dt="2024-04-19T06:22:13.829" v="3208" actId="1035"/>
        <pc:sldMkLst>
          <pc:docMk/>
          <pc:sldMk cId="1033168553" sldId="2147473151"/>
        </pc:sldMkLst>
        <pc:spChg chg="mod">
          <ac:chgData name="Ivan Gentile" userId="1703ff82-4a3d-4a0b-8903-a45633531d13" providerId="ADAL" clId="{8D23378B-2ED4-4AB9-9242-D42830FE84A7}" dt="2024-04-15T15:22:09.988" v="613" actId="20577"/>
          <ac:spMkLst>
            <pc:docMk/>
            <pc:sldMk cId="1033168553" sldId="2147473151"/>
            <ac:spMk id="6" creationId="{B8EBB39C-3725-403A-A5A7-E62CAA851624}"/>
          </ac:spMkLst>
        </pc:spChg>
        <pc:spChg chg="mod">
          <ac:chgData name="Ivan Gentile" userId="1703ff82-4a3d-4a0b-8903-a45633531d13" providerId="ADAL" clId="{8D23378B-2ED4-4AB9-9242-D42830FE84A7}" dt="2024-04-15T14:25:59.720" v="518" actId="1076"/>
          <ac:spMkLst>
            <pc:docMk/>
            <pc:sldMk cId="1033168553" sldId="2147473151"/>
            <ac:spMk id="9" creationId="{A2DD9A93-D84A-494E-BF4E-F9EDAFBA37ED}"/>
          </ac:spMkLst>
        </pc:spChg>
        <pc:spChg chg="mod">
          <ac:chgData name="Ivan Gentile" userId="1703ff82-4a3d-4a0b-8903-a45633531d13" providerId="ADAL" clId="{8D23378B-2ED4-4AB9-9242-D42830FE84A7}" dt="2024-04-15T14:26:05.582" v="520" actId="115"/>
          <ac:spMkLst>
            <pc:docMk/>
            <pc:sldMk cId="1033168553" sldId="2147473151"/>
            <ac:spMk id="15" creationId="{54EE7AFB-D0AB-48BE-A032-35797DBAFDE1}"/>
          </ac:spMkLst>
        </pc:spChg>
        <pc:spChg chg="mod">
          <ac:chgData name="Ivan Gentile" userId="1703ff82-4a3d-4a0b-8903-a45633531d13" providerId="ADAL" clId="{8D23378B-2ED4-4AB9-9242-D42830FE84A7}" dt="2024-04-15T15:22:07.490" v="612" actId="20577"/>
          <ac:spMkLst>
            <pc:docMk/>
            <pc:sldMk cId="1033168553" sldId="2147473151"/>
            <ac:spMk id="17" creationId="{7993B009-592A-40CB-AEDE-36089E6FCADC}"/>
          </ac:spMkLst>
        </pc:spChg>
        <pc:picChg chg="add mod">
          <ac:chgData name="Ivan Gentile" userId="1703ff82-4a3d-4a0b-8903-a45633531d13" providerId="ADAL" clId="{8D23378B-2ED4-4AB9-9242-D42830FE84A7}" dt="2024-04-19T06:22:13.829" v="3208" actId="1035"/>
          <ac:picMkLst>
            <pc:docMk/>
            <pc:sldMk cId="1033168553" sldId="2147473151"/>
            <ac:picMk id="2" creationId="{3C05E6A2-6067-9F77-B5B2-29AAD87F3129}"/>
          </ac:picMkLst>
        </pc:picChg>
      </pc:sldChg>
      <pc:sldChg chg="addSp delSp modSp new mod modShow modNotesTx">
        <pc:chgData name="Ivan Gentile" userId="1703ff82-4a3d-4a0b-8903-a45633531d13" providerId="ADAL" clId="{8D23378B-2ED4-4AB9-9242-D42830FE84A7}" dt="2024-04-19T07:05:49.856" v="3717" actId="20577"/>
        <pc:sldMkLst>
          <pc:docMk/>
          <pc:sldMk cId="2097482232" sldId="2147473152"/>
        </pc:sldMkLst>
        <pc:spChg chg="mod">
          <ac:chgData name="Ivan Gentile" userId="1703ff82-4a3d-4a0b-8903-a45633531d13" providerId="ADAL" clId="{8D23378B-2ED4-4AB9-9242-D42830FE84A7}" dt="2024-04-15T15:48:44.028" v="1545" actId="20577"/>
          <ac:spMkLst>
            <pc:docMk/>
            <pc:sldMk cId="2097482232" sldId="2147473152"/>
            <ac:spMk id="2" creationId="{D5140000-C6EB-47A4-F85E-DEAED455D552}"/>
          </ac:spMkLst>
        </pc:spChg>
        <pc:spChg chg="add mod">
          <ac:chgData name="Ivan Gentile" userId="1703ff82-4a3d-4a0b-8903-a45633531d13" providerId="ADAL" clId="{8D23378B-2ED4-4AB9-9242-D42830FE84A7}" dt="2024-04-15T15:48:30.778" v="1528" actId="20577"/>
          <ac:spMkLst>
            <pc:docMk/>
            <pc:sldMk cId="2097482232" sldId="2147473152"/>
            <ac:spMk id="6" creationId="{6BE4A2D7-07B8-5A6B-3D94-D6CBC941ECBF}"/>
          </ac:spMkLst>
        </pc:spChg>
        <pc:spChg chg="add mod">
          <ac:chgData name="Ivan Gentile" userId="1703ff82-4a3d-4a0b-8903-a45633531d13" providerId="ADAL" clId="{8D23378B-2ED4-4AB9-9242-D42830FE84A7}" dt="2024-04-15T17:04:48.734" v="1819" actId="403"/>
          <ac:spMkLst>
            <pc:docMk/>
            <pc:sldMk cId="2097482232" sldId="2147473152"/>
            <ac:spMk id="7" creationId="{9240D52E-BC33-0A3C-C07B-989D6E35E26E}"/>
          </ac:spMkLst>
        </pc:spChg>
        <pc:spChg chg="add mod">
          <ac:chgData name="Ivan Gentile" userId="1703ff82-4a3d-4a0b-8903-a45633531d13" providerId="ADAL" clId="{8D23378B-2ED4-4AB9-9242-D42830FE84A7}" dt="2024-04-15T15:48:04.580" v="1526" actId="113"/>
          <ac:spMkLst>
            <pc:docMk/>
            <pc:sldMk cId="2097482232" sldId="2147473152"/>
            <ac:spMk id="8" creationId="{817F3943-2B2B-B89B-C98D-2FB9819C243E}"/>
          </ac:spMkLst>
        </pc:spChg>
        <pc:spChg chg="add mod">
          <ac:chgData name="Ivan Gentile" userId="1703ff82-4a3d-4a0b-8903-a45633531d13" providerId="ADAL" clId="{8D23378B-2ED4-4AB9-9242-D42830FE84A7}" dt="2024-04-15T15:23:39.412" v="670" actId="1036"/>
          <ac:spMkLst>
            <pc:docMk/>
            <pc:sldMk cId="2097482232" sldId="2147473152"/>
            <ac:spMk id="9" creationId="{26C212F8-A26E-016F-64FC-FEE09C25476E}"/>
          </ac:spMkLst>
        </pc:spChg>
        <pc:spChg chg="add mod">
          <ac:chgData name="Ivan Gentile" userId="1703ff82-4a3d-4a0b-8903-a45633531d13" providerId="ADAL" clId="{8D23378B-2ED4-4AB9-9242-D42830FE84A7}" dt="2024-04-15T15:23:39.412" v="670" actId="1036"/>
          <ac:spMkLst>
            <pc:docMk/>
            <pc:sldMk cId="2097482232" sldId="2147473152"/>
            <ac:spMk id="10" creationId="{91E34D74-D38F-9EE5-E4E2-F328675C3CE9}"/>
          </ac:spMkLst>
        </pc:spChg>
        <pc:spChg chg="add mod">
          <ac:chgData name="Ivan Gentile" userId="1703ff82-4a3d-4a0b-8903-a45633531d13" providerId="ADAL" clId="{8D23378B-2ED4-4AB9-9242-D42830FE84A7}" dt="2024-04-15T15:23:39.412" v="670" actId="1036"/>
          <ac:spMkLst>
            <pc:docMk/>
            <pc:sldMk cId="2097482232" sldId="2147473152"/>
            <ac:spMk id="11" creationId="{90F963F4-9F94-9C2D-614D-BE18F85A56D8}"/>
          </ac:spMkLst>
        </pc:spChg>
        <pc:spChg chg="mod">
          <ac:chgData name="Ivan Gentile" userId="1703ff82-4a3d-4a0b-8903-a45633531d13" providerId="ADAL" clId="{8D23378B-2ED4-4AB9-9242-D42830FE84A7}" dt="2024-04-15T15:23:21.288" v="616"/>
          <ac:spMkLst>
            <pc:docMk/>
            <pc:sldMk cId="2097482232" sldId="2147473152"/>
            <ac:spMk id="16" creationId="{B1955304-275E-1417-FDE6-E639936525B8}"/>
          </ac:spMkLst>
        </pc:spChg>
        <pc:spChg chg="mod">
          <ac:chgData name="Ivan Gentile" userId="1703ff82-4a3d-4a0b-8903-a45633531d13" providerId="ADAL" clId="{8D23378B-2ED4-4AB9-9242-D42830FE84A7}" dt="2024-04-15T15:23:21.288" v="616"/>
          <ac:spMkLst>
            <pc:docMk/>
            <pc:sldMk cId="2097482232" sldId="2147473152"/>
            <ac:spMk id="17" creationId="{BF8B447F-04AF-B433-E16A-1BDF5A03C1AE}"/>
          </ac:spMkLst>
        </pc:spChg>
        <pc:spChg chg="mod">
          <ac:chgData name="Ivan Gentile" userId="1703ff82-4a3d-4a0b-8903-a45633531d13" providerId="ADAL" clId="{8D23378B-2ED4-4AB9-9242-D42830FE84A7}" dt="2024-04-15T15:23:21.288" v="616"/>
          <ac:spMkLst>
            <pc:docMk/>
            <pc:sldMk cId="2097482232" sldId="2147473152"/>
            <ac:spMk id="19" creationId="{3F1378FD-B55B-6B83-471D-476A09AB1E29}"/>
          </ac:spMkLst>
        </pc:spChg>
        <pc:spChg chg="mod">
          <ac:chgData name="Ivan Gentile" userId="1703ff82-4a3d-4a0b-8903-a45633531d13" providerId="ADAL" clId="{8D23378B-2ED4-4AB9-9242-D42830FE84A7}" dt="2024-04-15T15:23:21.288" v="616"/>
          <ac:spMkLst>
            <pc:docMk/>
            <pc:sldMk cId="2097482232" sldId="2147473152"/>
            <ac:spMk id="20" creationId="{06A2BC0F-2FF8-BB7D-36E1-ED7710829852}"/>
          </ac:spMkLst>
        </pc:spChg>
        <pc:spChg chg="mod">
          <ac:chgData name="Ivan Gentile" userId="1703ff82-4a3d-4a0b-8903-a45633531d13" providerId="ADAL" clId="{8D23378B-2ED4-4AB9-9242-D42830FE84A7}" dt="2024-04-15T15:23:21.288" v="616"/>
          <ac:spMkLst>
            <pc:docMk/>
            <pc:sldMk cId="2097482232" sldId="2147473152"/>
            <ac:spMk id="22" creationId="{797D7926-8244-5AB1-0557-C3B00866DDA6}"/>
          </ac:spMkLst>
        </pc:spChg>
        <pc:spChg chg="mod">
          <ac:chgData name="Ivan Gentile" userId="1703ff82-4a3d-4a0b-8903-a45633531d13" providerId="ADAL" clId="{8D23378B-2ED4-4AB9-9242-D42830FE84A7}" dt="2024-04-15T15:23:21.288" v="616"/>
          <ac:spMkLst>
            <pc:docMk/>
            <pc:sldMk cId="2097482232" sldId="2147473152"/>
            <ac:spMk id="23" creationId="{E1E830CA-095B-CE72-6A47-D21F116F3B30}"/>
          </ac:spMkLst>
        </pc:spChg>
        <pc:grpChg chg="add mod">
          <ac:chgData name="Ivan Gentile" userId="1703ff82-4a3d-4a0b-8903-a45633531d13" providerId="ADAL" clId="{8D23378B-2ED4-4AB9-9242-D42830FE84A7}" dt="2024-04-15T15:23:39.412" v="670" actId="1036"/>
          <ac:grpSpMkLst>
            <pc:docMk/>
            <pc:sldMk cId="2097482232" sldId="2147473152"/>
            <ac:grpSpMk id="15" creationId="{577A6902-528B-43E6-7C67-9E14C50E4CDC}"/>
          </ac:grpSpMkLst>
        </pc:grpChg>
        <pc:grpChg chg="add mod">
          <ac:chgData name="Ivan Gentile" userId="1703ff82-4a3d-4a0b-8903-a45633531d13" providerId="ADAL" clId="{8D23378B-2ED4-4AB9-9242-D42830FE84A7}" dt="2024-04-15T15:23:39.412" v="670" actId="1036"/>
          <ac:grpSpMkLst>
            <pc:docMk/>
            <pc:sldMk cId="2097482232" sldId="2147473152"/>
            <ac:grpSpMk id="18" creationId="{BA72A901-505C-B746-1C16-5113B287866E}"/>
          </ac:grpSpMkLst>
        </pc:grpChg>
        <pc:grpChg chg="add mod">
          <ac:chgData name="Ivan Gentile" userId="1703ff82-4a3d-4a0b-8903-a45633531d13" providerId="ADAL" clId="{8D23378B-2ED4-4AB9-9242-D42830FE84A7}" dt="2024-04-15T15:23:39.412" v="670" actId="1036"/>
          <ac:grpSpMkLst>
            <pc:docMk/>
            <pc:sldMk cId="2097482232" sldId="2147473152"/>
            <ac:grpSpMk id="21" creationId="{C3D03213-F25C-9360-BDBB-4D86D197A6C2}"/>
          </ac:grpSpMkLst>
        </pc:grpChg>
        <pc:picChg chg="add mod">
          <ac:chgData name="Ivan Gentile" userId="1703ff82-4a3d-4a0b-8903-a45633531d13" providerId="ADAL" clId="{8D23378B-2ED4-4AB9-9242-D42830FE84A7}" dt="2024-04-15T15:23:39.412" v="670" actId="1036"/>
          <ac:picMkLst>
            <pc:docMk/>
            <pc:sldMk cId="2097482232" sldId="2147473152"/>
            <ac:picMk id="5" creationId="{5B2E8988-4BEF-CD36-CA51-F9AD04B5A0B4}"/>
          </ac:picMkLst>
        </pc:picChg>
        <pc:picChg chg="add mod">
          <ac:chgData name="Ivan Gentile" userId="1703ff82-4a3d-4a0b-8903-a45633531d13" providerId="ADAL" clId="{8D23378B-2ED4-4AB9-9242-D42830FE84A7}" dt="2024-04-19T06:21:41.921" v="3203"/>
          <ac:picMkLst>
            <pc:docMk/>
            <pc:sldMk cId="2097482232" sldId="2147473152"/>
            <ac:picMk id="24" creationId="{3583F491-9915-85BD-F689-0206C02B66BE}"/>
          </ac:picMkLst>
        </pc:picChg>
        <pc:picChg chg="add del mod">
          <ac:chgData name="Ivan Gentile" userId="1703ff82-4a3d-4a0b-8903-a45633531d13" providerId="ADAL" clId="{8D23378B-2ED4-4AB9-9242-D42830FE84A7}" dt="2024-04-15T15:27:50.756" v="673" actId="478"/>
          <ac:picMkLst>
            <pc:docMk/>
            <pc:sldMk cId="2097482232" sldId="2147473152"/>
            <ac:picMk id="24" creationId="{4CBB81DA-7C73-76B0-26F8-E64171019D3E}"/>
          </ac:picMkLst>
        </pc:picChg>
        <pc:cxnChg chg="add mod">
          <ac:chgData name="Ivan Gentile" userId="1703ff82-4a3d-4a0b-8903-a45633531d13" providerId="ADAL" clId="{8D23378B-2ED4-4AB9-9242-D42830FE84A7}" dt="2024-04-15T15:23:39.412" v="670" actId="1036"/>
          <ac:cxnSpMkLst>
            <pc:docMk/>
            <pc:sldMk cId="2097482232" sldId="2147473152"/>
            <ac:cxnSpMk id="12" creationId="{1C925891-69BE-4E5E-164F-4AE98589E217}"/>
          </ac:cxnSpMkLst>
        </pc:cxnChg>
        <pc:cxnChg chg="add mod">
          <ac:chgData name="Ivan Gentile" userId="1703ff82-4a3d-4a0b-8903-a45633531d13" providerId="ADAL" clId="{8D23378B-2ED4-4AB9-9242-D42830FE84A7}" dt="2024-04-15T15:23:39.412" v="670" actId="1036"/>
          <ac:cxnSpMkLst>
            <pc:docMk/>
            <pc:sldMk cId="2097482232" sldId="2147473152"/>
            <ac:cxnSpMk id="13" creationId="{786CD697-7D85-0765-B456-62DFA613742D}"/>
          </ac:cxnSpMkLst>
        </pc:cxnChg>
        <pc:cxnChg chg="add mod">
          <ac:chgData name="Ivan Gentile" userId="1703ff82-4a3d-4a0b-8903-a45633531d13" providerId="ADAL" clId="{8D23378B-2ED4-4AB9-9242-D42830FE84A7}" dt="2024-04-15T15:23:39.412" v="670" actId="1036"/>
          <ac:cxnSpMkLst>
            <pc:docMk/>
            <pc:sldMk cId="2097482232" sldId="2147473152"/>
            <ac:cxnSpMk id="14" creationId="{8105E8C4-FFAA-4C84-74E8-FC1B2CA4DE2F}"/>
          </ac:cxnSpMkLst>
        </pc:cxnChg>
      </pc:sldChg>
      <pc:sldChg chg="addSp delSp modSp add mod">
        <pc:chgData name="Ivan Gentile" userId="1703ff82-4a3d-4a0b-8903-a45633531d13" providerId="ADAL" clId="{8D23378B-2ED4-4AB9-9242-D42830FE84A7}" dt="2024-04-19T06:21:12.470" v="3199" actId="166"/>
        <pc:sldMkLst>
          <pc:docMk/>
          <pc:sldMk cId="3568799351" sldId="2147473153"/>
        </pc:sldMkLst>
        <pc:spChg chg="mod">
          <ac:chgData name="Ivan Gentile" userId="1703ff82-4a3d-4a0b-8903-a45633531d13" providerId="ADAL" clId="{8D23378B-2ED4-4AB9-9242-D42830FE84A7}" dt="2024-04-15T15:58:36.664" v="1617" actId="114"/>
          <ac:spMkLst>
            <pc:docMk/>
            <pc:sldMk cId="3568799351" sldId="2147473153"/>
            <ac:spMk id="2" creationId="{258CB0ED-877B-3699-27D2-F73C04F1FCC6}"/>
          </ac:spMkLst>
        </pc:spChg>
        <pc:spChg chg="del">
          <ac:chgData name="Ivan Gentile" userId="1703ff82-4a3d-4a0b-8903-a45633531d13" providerId="ADAL" clId="{8D23378B-2ED4-4AB9-9242-D42830FE84A7}" dt="2024-04-15T15:57:08.154" v="1616" actId="478"/>
          <ac:spMkLst>
            <pc:docMk/>
            <pc:sldMk cId="3568799351" sldId="2147473153"/>
            <ac:spMk id="5" creationId="{D6B62643-CDBA-A19A-0F34-F510C63DFA23}"/>
          </ac:spMkLst>
        </pc:spChg>
        <pc:picChg chg="add mod">
          <ac:chgData name="Ivan Gentile" userId="1703ff82-4a3d-4a0b-8903-a45633531d13" providerId="ADAL" clId="{8D23378B-2ED4-4AB9-9242-D42830FE84A7}" dt="2024-04-19T06:21:05.969" v="3198"/>
          <ac:picMkLst>
            <pc:docMk/>
            <pc:sldMk cId="3568799351" sldId="2147473153"/>
            <ac:picMk id="3" creationId="{C0DB0AF9-FB04-3D57-C328-851C81E4E4CF}"/>
          </ac:picMkLst>
        </pc:picChg>
        <pc:picChg chg="add mod ord">
          <ac:chgData name="Ivan Gentile" userId="1703ff82-4a3d-4a0b-8903-a45633531d13" providerId="ADAL" clId="{8D23378B-2ED4-4AB9-9242-D42830FE84A7}" dt="2024-04-19T06:21:12.470" v="3199" actId="166"/>
          <ac:picMkLst>
            <pc:docMk/>
            <pc:sldMk cId="3568799351" sldId="2147473153"/>
            <ac:picMk id="4" creationId="{74675CEE-BF30-F7D6-8612-5CE59FD210EA}"/>
          </ac:picMkLst>
        </pc:picChg>
        <pc:picChg chg="del">
          <ac:chgData name="Ivan Gentile" userId="1703ff82-4a3d-4a0b-8903-a45633531d13" providerId="ADAL" clId="{8D23378B-2ED4-4AB9-9242-D42830FE84A7}" dt="2024-04-15T15:56:16.290" v="1598" actId="478"/>
          <ac:picMkLst>
            <pc:docMk/>
            <pc:sldMk cId="3568799351" sldId="2147473153"/>
            <ac:picMk id="7" creationId="{60EFC7A6-0754-5049-BE9A-129099726EA5}"/>
          </ac:picMkLst>
        </pc:picChg>
        <pc:cxnChg chg="add mod">
          <ac:chgData name="Ivan Gentile" userId="1703ff82-4a3d-4a0b-8903-a45633531d13" providerId="ADAL" clId="{8D23378B-2ED4-4AB9-9242-D42830FE84A7}" dt="2024-04-15T15:57:05.578" v="1615" actId="1076"/>
          <ac:cxnSpMkLst>
            <pc:docMk/>
            <pc:sldMk cId="3568799351" sldId="2147473153"/>
            <ac:cxnSpMk id="8" creationId="{EC2B15EF-09D8-48D0-3831-C99C22C2D164}"/>
          </ac:cxnSpMkLst>
        </pc:cxnChg>
      </pc:sldChg>
      <pc:sldChg chg="addSp delSp modSp new mod modNotesTx">
        <pc:chgData name="Ivan Gentile" userId="1703ff82-4a3d-4a0b-8903-a45633531d13" providerId="ADAL" clId="{8D23378B-2ED4-4AB9-9242-D42830FE84A7}" dt="2024-04-19T06:21:04.254" v="3197"/>
        <pc:sldMkLst>
          <pc:docMk/>
          <pc:sldMk cId="1935552243" sldId="2147473154"/>
        </pc:sldMkLst>
        <pc:spChg chg="mod">
          <ac:chgData name="Ivan Gentile" userId="1703ff82-4a3d-4a0b-8903-a45633531d13" providerId="ADAL" clId="{8D23378B-2ED4-4AB9-9242-D42830FE84A7}" dt="2024-04-15T17:01:20.582" v="1781" actId="115"/>
          <ac:spMkLst>
            <pc:docMk/>
            <pc:sldMk cId="1935552243" sldId="2147473154"/>
            <ac:spMk id="2" creationId="{64428039-0C10-800F-06A9-254B5A2395D3}"/>
          </ac:spMkLst>
        </pc:spChg>
        <pc:spChg chg="del">
          <ac:chgData name="Ivan Gentile" userId="1703ff82-4a3d-4a0b-8903-a45633531d13" providerId="ADAL" clId="{8D23378B-2ED4-4AB9-9242-D42830FE84A7}" dt="2024-04-15T16:57:46.243" v="1741" actId="22"/>
          <ac:spMkLst>
            <pc:docMk/>
            <pc:sldMk cId="1935552243" sldId="2147473154"/>
            <ac:spMk id="3" creationId="{560B2ABB-A3A9-0C59-7E2C-976B74053377}"/>
          </ac:spMkLst>
        </pc:spChg>
        <pc:picChg chg="add mod">
          <ac:chgData name="Ivan Gentile" userId="1703ff82-4a3d-4a0b-8903-a45633531d13" providerId="ADAL" clId="{8D23378B-2ED4-4AB9-9242-D42830FE84A7}" dt="2024-04-19T06:21:04.254" v="3197"/>
          <ac:picMkLst>
            <pc:docMk/>
            <pc:sldMk cId="1935552243" sldId="2147473154"/>
            <ac:picMk id="3" creationId="{CA6333DD-B1CC-9C92-28C5-8D1AE893419A}"/>
          </ac:picMkLst>
        </pc:picChg>
        <pc:picChg chg="add mod ord">
          <ac:chgData name="Ivan Gentile" userId="1703ff82-4a3d-4a0b-8903-a45633531d13" providerId="ADAL" clId="{8D23378B-2ED4-4AB9-9242-D42830FE84A7}" dt="2024-04-15T17:00:01.245" v="1762" actId="1076"/>
          <ac:picMkLst>
            <pc:docMk/>
            <pc:sldMk cId="1935552243" sldId="2147473154"/>
            <ac:picMk id="6" creationId="{6090ED78-0410-B76F-C763-EE05C6D67D67}"/>
          </ac:picMkLst>
        </pc:picChg>
        <pc:picChg chg="add mod">
          <ac:chgData name="Ivan Gentile" userId="1703ff82-4a3d-4a0b-8903-a45633531d13" providerId="ADAL" clId="{8D23378B-2ED4-4AB9-9242-D42830FE84A7}" dt="2024-04-15T16:59:58.895" v="1761" actId="1076"/>
          <ac:picMkLst>
            <pc:docMk/>
            <pc:sldMk cId="1935552243" sldId="2147473154"/>
            <ac:picMk id="8" creationId="{490E2EA4-8F03-B2D5-482C-FED1BBE26321}"/>
          </ac:picMkLst>
        </pc:picChg>
        <pc:picChg chg="add mod">
          <ac:chgData name="Ivan Gentile" userId="1703ff82-4a3d-4a0b-8903-a45633531d13" providerId="ADAL" clId="{8D23378B-2ED4-4AB9-9242-D42830FE84A7}" dt="2024-04-15T17:00:08.091" v="1778" actId="1036"/>
          <ac:picMkLst>
            <pc:docMk/>
            <pc:sldMk cId="1935552243" sldId="2147473154"/>
            <ac:picMk id="10" creationId="{AF82298B-7595-F94F-55E3-79CAD987CF70}"/>
          </ac:picMkLst>
        </pc:picChg>
        <pc:picChg chg="add mod">
          <ac:chgData name="Ivan Gentile" userId="1703ff82-4a3d-4a0b-8903-a45633531d13" providerId="ADAL" clId="{8D23378B-2ED4-4AB9-9242-D42830FE84A7}" dt="2024-04-15T17:00:08.091" v="1778" actId="1036"/>
          <ac:picMkLst>
            <pc:docMk/>
            <pc:sldMk cId="1935552243" sldId="2147473154"/>
            <ac:picMk id="12" creationId="{AB1CF625-8FAD-C341-17E3-99ABDDE284B0}"/>
          </ac:picMkLst>
        </pc:picChg>
      </pc:sldChg>
      <pc:sldChg chg="addSp delSp modSp new mod modNotesTx">
        <pc:chgData name="Ivan Gentile" userId="1703ff82-4a3d-4a0b-8903-a45633531d13" providerId="ADAL" clId="{8D23378B-2ED4-4AB9-9242-D42830FE84A7}" dt="2024-04-19T06:20:57.556" v="3194"/>
        <pc:sldMkLst>
          <pc:docMk/>
          <pc:sldMk cId="753462224" sldId="2147473155"/>
        </pc:sldMkLst>
        <pc:spChg chg="mod">
          <ac:chgData name="Ivan Gentile" userId="1703ff82-4a3d-4a0b-8903-a45633531d13" providerId="ADAL" clId="{8D23378B-2ED4-4AB9-9242-D42830FE84A7}" dt="2024-04-15T19:26:03.036" v="3171" actId="20577"/>
          <ac:spMkLst>
            <pc:docMk/>
            <pc:sldMk cId="753462224" sldId="2147473155"/>
            <ac:spMk id="2" creationId="{7B7F678E-3AFF-E79D-1EC7-B2C7AD2D5592}"/>
          </ac:spMkLst>
        </pc:spChg>
        <pc:spChg chg="del">
          <ac:chgData name="Ivan Gentile" userId="1703ff82-4a3d-4a0b-8903-a45633531d13" providerId="ADAL" clId="{8D23378B-2ED4-4AB9-9242-D42830FE84A7}" dt="2024-04-15T17:10:14.333" v="1884" actId="478"/>
          <ac:spMkLst>
            <pc:docMk/>
            <pc:sldMk cId="753462224" sldId="2147473155"/>
            <ac:spMk id="3" creationId="{B6EFBA61-7988-8165-D5D6-FE11C5F9552A}"/>
          </ac:spMkLst>
        </pc:spChg>
        <pc:spChg chg="del">
          <ac:chgData name="Ivan Gentile" userId="1703ff82-4a3d-4a0b-8903-a45633531d13" providerId="ADAL" clId="{8D23378B-2ED4-4AB9-9242-D42830FE84A7}" dt="2024-04-15T18:02:06.650" v="2231" actId="478"/>
          <ac:spMkLst>
            <pc:docMk/>
            <pc:sldMk cId="753462224" sldId="2147473155"/>
            <ac:spMk id="4" creationId="{AFD58C96-9F7E-2EE6-A0DF-84C4F8EB3A30}"/>
          </ac:spMkLst>
        </pc:spChg>
        <pc:spChg chg="add del mod">
          <ac:chgData name="Ivan Gentile" userId="1703ff82-4a3d-4a0b-8903-a45633531d13" providerId="ADAL" clId="{8D23378B-2ED4-4AB9-9242-D42830FE84A7}" dt="2024-04-15T18:00:33.858" v="2209" actId="478"/>
          <ac:spMkLst>
            <pc:docMk/>
            <pc:sldMk cId="753462224" sldId="2147473155"/>
            <ac:spMk id="7" creationId="{45F9834D-8AD4-2874-4717-A6EC1AEA8458}"/>
          </ac:spMkLst>
        </pc:spChg>
        <pc:spChg chg="add del mod">
          <ac:chgData name="Ivan Gentile" userId="1703ff82-4a3d-4a0b-8903-a45633531d13" providerId="ADAL" clId="{8D23378B-2ED4-4AB9-9242-D42830FE84A7}" dt="2024-04-15T17:13:41.132" v="1920" actId="478"/>
          <ac:spMkLst>
            <pc:docMk/>
            <pc:sldMk cId="753462224" sldId="2147473155"/>
            <ac:spMk id="9" creationId="{0C39ED62-4F59-FDCE-8F3A-2F62321BC80F}"/>
          </ac:spMkLst>
        </pc:spChg>
        <pc:spChg chg="add del mod">
          <ac:chgData name="Ivan Gentile" userId="1703ff82-4a3d-4a0b-8903-a45633531d13" providerId="ADAL" clId="{8D23378B-2ED4-4AB9-9242-D42830FE84A7}" dt="2024-04-15T18:02:09.589" v="2232" actId="478"/>
          <ac:spMkLst>
            <pc:docMk/>
            <pc:sldMk cId="753462224" sldId="2147473155"/>
            <ac:spMk id="10" creationId="{656FC891-E57A-37E8-E121-6AF0AB8AD9A8}"/>
          </ac:spMkLst>
        </pc:spChg>
        <pc:spChg chg="add del mod">
          <ac:chgData name="Ivan Gentile" userId="1703ff82-4a3d-4a0b-8903-a45633531d13" providerId="ADAL" clId="{8D23378B-2ED4-4AB9-9242-D42830FE84A7}" dt="2024-04-15T18:02:10.206" v="2233" actId="34307"/>
          <ac:spMkLst>
            <pc:docMk/>
            <pc:sldMk cId="753462224" sldId="2147473155"/>
            <ac:spMk id="14" creationId="{A63CBE4C-7D0C-B7BA-A2CA-379DA66C9847}"/>
          </ac:spMkLst>
        </pc:spChg>
        <pc:spChg chg="add mod">
          <ac:chgData name="Ivan Gentile" userId="1703ff82-4a3d-4a0b-8903-a45633531d13" providerId="ADAL" clId="{8D23378B-2ED4-4AB9-9242-D42830FE84A7}" dt="2024-04-15T18:13:53.753" v="2637" actId="20577"/>
          <ac:spMkLst>
            <pc:docMk/>
            <pc:sldMk cId="753462224" sldId="2147473155"/>
            <ac:spMk id="17" creationId="{C5A6805A-E834-1D51-80D5-17636BD6EF41}"/>
          </ac:spMkLst>
        </pc:spChg>
        <pc:picChg chg="add mod">
          <ac:chgData name="Ivan Gentile" userId="1703ff82-4a3d-4a0b-8903-a45633531d13" providerId="ADAL" clId="{8D23378B-2ED4-4AB9-9242-D42830FE84A7}" dt="2024-04-19T06:20:57.556" v="3194"/>
          <ac:picMkLst>
            <pc:docMk/>
            <pc:sldMk cId="753462224" sldId="2147473155"/>
            <ac:picMk id="3" creationId="{9A1BFA60-69A2-64EB-706E-20F0F427B45E}"/>
          </ac:picMkLst>
        </pc:picChg>
        <pc:picChg chg="add del mod">
          <ac:chgData name="Ivan Gentile" userId="1703ff82-4a3d-4a0b-8903-a45633531d13" providerId="ADAL" clId="{8D23378B-2ED4-4AB9-9242-D42830FE84A7}" dt="2024-04-15T18:00:32.775" v="2208" actId="478"/>
          <ac:picMkLst>
            <pc:docMk/>
            <pc:sldMk cId="753462224" sldId="2147473155"/>
            <ac:picMk id="6" creationId="{5943171A-BD9F-6FD8-B652-616C3EC529D2}"/>
          </ac:picMkLst>
        </pc:picChg>
        <pc:picChg chg="add mod">
          <ac:chgData name="Ivan Gentile" userId="1703ff82-4a3d-4a0b-8903-a45633531d13" providerId="ADAL" clId="{8D23378B-2ED4-4AB9-9242-D42830FE84A7}" dt="2024-04-15T18:05:13.781" v="2341" actId="1076"/>
          <ac:picMkLst>
            <pc:docMk/>
            <pc:sldMk cId="753462224" sldId="2147473155"/>
            <ac:picMk id="12" creationId="{341554E6-AB99-D29E-B7A3-E8ACA2828AC5}"/>
          </ac:picMkLst>
        </pc:picChg>
        <pc:picChg chg="add del mod ord">
          <ac:chgData name="Ivan Gentile" userId="1703ff82-4a3d-4a0b-8903-a45633531d13" providerId="ADAL" clId="{8D23378B-2ED4-4AB9-9242-D42830FE84A7}" dt="2024-04-15T18:02:15.916" v="2235" actId="478"/>
          <ac:picMkLst>
            <pc:docMk/>
            <pc:sldMk cId="753462224" sldId="2147473155"/>
            <ac:picMk id="15" creationId="{8E661FE9-7318-8BA7-8524-551E0E20E962}"/>
          </ac:picMkLst>
        </pc:picChg>
        <pc:picChg chg="add mod">
          <ac:chgData name="Ivan Gentile" userId="1703ff82-4a3d-4a0b-8903-a45633531d13" providerId="ADAL" clId="{8D23378B-2ED4-4AB9-9242-D42830FE84A7}" dt="2024-04-15T18:05:23.905" v="2344" actId="1076"/>
          <ac:picMkLst>
            <pc:docMk/>
            <pc:sldMk cId="753462224" sldId="2147473155"/>
            <ac:picMk id="1026" creationId="{A34D0846-7813-828F-0489-53BC33B54056}"/>
          </ac:picMkLst>
        </pc:picChg>
      </pc:sldChg>
      <pc:sldChg chg="modSp new del mod modShow">
        <pc:chgData name="Ivan Gentile" userId="1703ff82-4a3d-4a0b-8903-a45633531d13" providerId="ADAL" clId="{8D23378B-2ED4-4AB9-9242-D42830FE84A7}" dt="2024-04-15T17:01:12.732" v="1780" actId="47"/>
        <pc:sldMkLst>
          <pc:docMk/>
          <pc:sldMk cId="3036007504" sldId="2147473155"/>
        </pc:sldMkLst>
        <pc:spChg chg="mod">
          <ac:chgData name="Ivan Gentile" userId="1703ff82-4a3d-4a0b-8903-a45633531d13" providerId="ADAL" clId="{8D23378B-2ED4-4AB9-9242-D42830FE84A7}" dt="2024-04-15T16:01:21.510" v="1718" actId="20577"/>
          <ac:spMkLst>
            <pc:docMk/>
            <pc:sldMk cId="3036007504" sldId="2147473155"/>
            <ac:spMk id="2" creationId="{42F75456-5556-6618-2419-3CB46D2A8E7C}"/>
          </ac:spMkLst>
        </pc:spChg>
      </pc:sldChg>
      <pc:sldChg chg="addSp delSp modSp new mod">
        <pc:chgData name="Ivan Gentile" userId="1703ff82-4a3d-4a0b-8903-a45633531d13" providerId="ADAL" clId="{8D23378B-2ED4-4AB9-9242-D42830FE84A7}" dt="2024-04-19T06:20:51.151" v="3193" actId="1076"/>
        <pc:sldMkLst>
          <pc:docMk/>
          <pc:sldMk cId="1694996430" sldId="2147473156"/>
        </pc:sldMkLst>
        <pc:spChg chg="mod">
          <ac:chgData name="Ivan Gentile" userId="1703ff82-4a3d-4a0b-8903-a45633531d13" providerId="ADAL" clId="{8D23378B-2ED4-4AB9-9242-D42830FE84A7}" dt="2024-04-15T17:56:44.885" v="2207" actId="20577"/>
          <ac:spMkLst>
            <pc:docMk/>
            <pc:sldMk cId="1694996430" sldId="2147473156"/>
            <ac:spMk id="2" creationId="{FEC22267-B6C1-AC85-D454-8BD914A2C20A}"/>
          </ac:spMkLst>
        </pc:spChg>
        <pc:spChg chg="del">
          <ac:chgData name="Ivan Gentile" userId="1703ff82-4a3d-4a0b-8903-a45633531d13" providerId="ADAL" clId="{8D23378B-2ED4-4AB9-9242-D42830FE84A7}" dt="2024-04-15T18:08:34.362" v="2384" actId="478"/>
          <ac:spMkLst>
            <pc:docMk/>
            <pc:sldMk cId="1694996430" sldId="2147473156"/>
            <ac:spMk id="3" creationId="{C180E5FA-9A7E-E762-EDE1-FA814825B24E}"/>
          </ac:spMkLst>
        </pc:spChg>
        <pc:picChg chg="add del mod">
          <ac:chgData name="Ivan Gentile" userId="1703ff82-4a3d-4a0b-8903-a45633531d13" providerId="ADAL" clId="{8D23378B-2ED4-4AB9-9242-D42830FE84A7}" dt="2024-04-19T06:20:35.959" v="3191" actId="478"/>
          <ac:picMkLst>
            <pc:docMk/>
            <pc:sldMk cId="1694996430" sldId="2147473156"/>
            <ac:picMk id="3" creationId="{9F34944F-BCE9-5EEA-AE00-8E8C956C7EC5}"/>
          </ac:picMkLst>
        </pc:picChg>
        <pc:picChg chg="add mod">
          <ac:chgData name="Ivan Gentile" userId="1703ff82-4a3d-4a0b-8903-a45633531d13" providerId="ADAL" clId="{8D23378B-2ED4-4AB9-9242-D42830FE84A7}" dt="2024-04-19T06:20:51.151" v="3193" actId="1076"/>
          <ac:picMkLst>
            <pc:docMk/>
            <pc:sldMk cId="1694996430" sldId="2147473156"/>
            <ac:picMk id="5" creationId="{61B28151-C8A0-C9B8-6EEF-FB68B99C2A6D}"/>
          </ac:picMkLst>
        </pc:picChg>
        <pc:picChg chg="add">
          <ac:chgData name="Ivan Gentile" userId="1703ff82-4a3d-4a0b-8903-a45633531d13" providerId="ADAL" clId="{8D23378B-2ED4-4AB9-9242-D42830FE84A7}" dt="2024-04-15T17:56:06.080" v="2161" actId="22"/>
          <ac:picMkLst>
            <pc:docMk/>
            <pc:sldMk cId="1694996430" sldId="2147473156"/>
            <ac:picMk id="6" creationId="{2BEAAB4D-ACA7-B865-0B9D-013AAB48FA54}"/>
          </ac:picMkLst>
        </pc:picChg>
      </pc:sldChg>
      <pc:sldChg chg="addSp delSp modSp new mod">
        <pc:chgData name="Ivan Gentile" userId="1703ff82-4a3d-4a0b-8903-a45633531d13" providerId="ADAL" clId="{8D23378B-2ED4-4AB9-9242-D42830FE84A7}" dt="2024-04-19T06:48:28.904" v="3715" actId="113"/>
        <pc:sldMkLst>
          <pc:docMk/>
          <pc:sldMk cId="156004852" sldId="2147473157"/>
        </pc:sldMkLst>
        <pc:spChg chg="mod">
          <ac:chgData name="Ivan Gentile" userId="1703ff82-4a3d-4a0b-8903-a45633531d13" providerId="ADAL" clId="{8D23378B-2ED4-4AB9-9242-D42830FE84A7}" dt="2024-04-19T06:23:21.286" v="3226" actId="20577"/>
          <ac:spMkLst>
            <pc:docMk/>
            <pc:sldMk cId="156004852" sldId="2147473157"/>
            <ac:spMk id="2" creationId="{E2C2B2C9-EF7A-0CE1-F1E2-1CA1BD038117}"/>
          </ac:spMkLst>
        </pc:spChg>
        <pc:spChg chg="del">
          <ac:chgData name="Ivan Gentile" userId="1703ff82-4a3d-4a0b-8903-a45633531d13" providerId="ADAL" clId="{8D23378B-2ED4-4AB9-9242-D42830FE84A7}" dt="2024-04-19T06:27:27.028" v="3227" actId="22"/>
          <ac:spMkLst>
            <pc:docMk/>
            <pc:sldMk cId="156004852" sldId="2147473157"/>
            <ac:spMk id="3" creationId="{B2C4F644-D57A-53AD-B433-061DE030DADD}"/>
          </ac:spMkLst>
        </pc:spChg>
        <pc:spChg chg="add mod">
          <ac:chgData name="Ivan Gentile" userId="1703ff82-4a3d-4a0b-8903-a45633531d13" providerId="ADAL" clId="{8D23378B-2ED4-4AB9-9242-D42830FE84A7}" dt="2024-04-19T06:48:28.904" v="3715" actId="113"/>
          <ac:spMkLst>
            <pc:docMk/>
            <pc:sldMk cId="156004852" sldId="2147473157"/>
            <ac:spMk id="8" creationId="{EDB2B267-83E5-7DDD-FB36-DCFD8063275C}"/>
          </ac:spMkLst>
        </pc:spChg>
        <pc:picChg chg="add mod">
          <ac:chgData name="Ivan Gentile" userId="1703ff82-4a3d-4a0b-8903-a45633531d13" providerId="ADAL" clId="{8D23378B-2ED4-4AB9-9242-D42830FE84A7}" dt="2024-04-19T06:23:13.539" v="3210"/>
          <ac:picMkLst>
            <pc:docMk/>
            <pc:sldMk cId="156004852" sldId="2147473157"/>
            <ac:picMk id="5" creationId="{EDAFD9B8-C9C6-B1F2-54ED-3541254C7E5E}"/>
          </ac:picMkLst>
        </pc:picChg>
        <pc:picChg chg="add mod ord">
          <ac:chgData name="Ivan Gentile" userId="1703ff82-4a3d-4a0b-8903-a45633531d13" providerId="ADAL" clId="{8D23378B-2ED4-4AB9-9242-D42830FE84A7}" dt="2024-04-19T06:31:18.069" v="3505" actId="1076"/>
          <ac:picMkLst>
            <pc:docMk/>
            <pc:sldMk cId="156004852" sldId="2147473157"/>
            <ac:picMk id="7" creationId="{D8D0F7BB-162C-8976-78B1-5305C237049A}"/>
          </ac:picMkLst>
        </pc:picChg>
      </pc:sldChg>
      <pc:sldChg chg="add del ord">
        <pc:chgData name="Ivan Gentile" userId="1703ff82-4a3d-4a0b-8903-a45633531d13" providerId="ADAL" clId="{8D23378B-2ED4-4AB9-9242-D42830FE84A7}" dt="2024-04-15T18:13:58.759" v="2638" actId="47"/>
        <pc:sldMkLst>
          <pc:docMk/>
          <pc:sldMk cId="877032415" sldId="2147473157"/>
        </pc:sldMkLst>
      </pc:sldChg>
      <pc:sldChg chg="add del">
        <pc:chgData name="Ivan Gentile" userId="1703ff82-4a3d-4a0b-8903-a45633531d13" providerId="ADAL" clId="{8D23378B-2ED4-4AB9-9242-D42830FE84A7}" dt="2024-04-15T18:06:07.805" v="2349"/>
        <pc:sldMkLst>
          <pc:docMk/>
          <pc:sldMk cId="1587848776" sldId="2147473157"/>
        </pc:sldMkLst>
      </pc:sldChg>
      <pc:sldChg chg="addSp delSp modSp add mod modNotesTx">
        <pc:chgData name="Ivan Gentile" userId="1703ff82-4a3d-4a0b-8903-a45633531d13" providerId="ADAL" clId="{8D23378B-2ED4-4AB9-9242-D42830FE84A7}" dt="2024-04-19T06:41:53.802" v="3712" actId="1076"/>
        <pc:sldMkLst>
          <pc:docMk/>
          <pc:sldMk cId="2422489847" sldId="2147473158"/>
        </pc:sldMkLst>
        <pc:spChg chg="mod">
          <ac:chgData name="Ivan Gentile" userId="1703ff82-4a3d-4a0b-8903-a45633531d13" providerId="ADAL" clId="{8D23378B-2ED4-4AB9-9242-D42830FE84A7}" dt="2024-04-19T06:36:20.644" v="3541" actId="20577"/>
          <ac:spMkLst>
            <pc:docMk/>
            <pc:sldMk cId="2422489847" sldId="2147473158"/>
            <ac:spMk id="2" creationId="{E2C2B2C9-EF7A-0CE1-F1E2-1CA1BD038117}"/>
          </ac:spMkLst>
        </pc:spChg>
        <pc:spChg chg="add del mod">
          <ac:chgData name="Ivan Gentile" userId="1703ff82-4a3d-4a0b-8903-a45633531d13" providerId="ADAL" clId="{8D23378B-2ED4-4AB9-9242-D42830FE84A7}" dt="2024-04-19T06:34:25.548" v="3534" actId="22"/>
          <ac:spMkLst>
            <pc:docMk/>
            <pc:sldMk cId="2422489847" sldId="2147473158"/>
            <ac:spMk id="6" creationId="{C69E05CD-E982-3042-BEA7-DF0C4551A936}"/>
          </ac:spMkLst>
        </pc:spChg>
        <pc:spChg chg="mod">
          <ac:chgData name="Ivan Gentile" userId="1703ff82-4a3d-4a0b-8903-a45633531d13" providerId="ADAL" clId="{8D23378B-2ED4-4AB9-9242-D42830FE84A7}" dt="2024-04-19T06:41:53.802" v="3712" actId="1076"/>
          <ac:spMkLst>
            <pc:docMk/>
            <pc:sldMk cId="2422489847" sldId="2147473158"/>
            <ac:spMk id="8" creationId="{EDB2B267-83E5-7DDD-FB36-DCFD8063275C}"/>
          </ac:spMkLst>
        </pc:spChg>
        <pc:spChg chg="add del mod">
          <ac:chgData name="Ivan Gentile" userId="1703ff82-4a3d-4a0b-8903-a45633531d13" providerId="ADAL" clId="{8D23378B-2ED4-4AB9-9242-D42830FE84A7}" dt="2024-04-19T06:36:27.907" v="3544" actId="21"/>
          <ac:spMkLst>
            <pc:docMk/>
            <pc:sldMk cId="2422489847" sldId="2147473158"/>
            <ac:spMk id="16" creationId="{03368038-0F0B-2FDE-79C7-32002DD0A886}"/>
          </ac:spMkLst>
        </pc:spChg>
        <pc:picChg chg="del">
          <ac:chgData name="Ivan Gentile" userId="1703ff82-4a3d-4a0b-8903-a45633531d13" providerId="ADAL" clId="{8D23378B-2ED4-4AB9-9242-D42830FE84A7}" dt="2024-04-19T06:33:47.040" v="3508" actId="478"/>
          <ac:picMkLst>
            <pc:docMk/>
            <pc:sldMk cId="2422489847" sldId="2147473158"/>
            <ac:picMk id="7" creationId="{D8D0F7BB-162C-8976-78B1-5305C237049A}"/>
          </ac:picMkLst>
        </pc:picChg>
        <pc:picChg chg="add mod">
          <ac:chgData name="Ivan Gentile" userId="1703ff82-4a3d-4a0b-8903-a45633531d13" providerId="ADAL" clId="{8D23378B-2ED4-4AB9-9242-D42830FE84A7}" dt="2024-04-19T06:35:48.699" v="3537" actId="14100"/>
          <ac:picMkLst>
            <pc:docMk/>
            <pc:sldMk cId="2422489847" sldId="2147473158"/>
            <ac:picMk id="10" creationId="{51D3917A-957A-EF77-1E79-D8DE5DA963EF}"/>
          </ac:picMkLst>
        </pc:picChg>
        <pc:picChg chg="add del mod ord">
          <ac:chgData name="Ivan Gentile" userId="1703ff82-4a3d-4a0b-8903-a45633531d13" providerId="ADAL" clId="{8D23378B-2ED4-4AB9-9242-D42830FE84A7}" dt="2024-04-19T06:41:37.933" v="3707" actId="1076"/>
          <ac:picMkLst>
            <pc:docMk/>
            <pc:sldMk cId="2422489847" sldId="2147473158"/>
            <ac:picMk id="12" creationId="{2CA37C85-94F5-7483-A824-BA4D4C90B2B3}"/>
          </ac:picMkLst>
        </pc:picChg>
        <pc:picChg chg="add mod">
          <ac:chgData name="Ivan Gentile" userId="1703ff82-4a3d-4a0b-8903-a45633531d13" providerId="ADAL" clId="{8D23378B-2ED4-4AB9-9242-D42830FE84A7}" dt="2024-04-19T06:36:00.184" v="3540" actId="14100"/>
          <ac:picMkLst>
            <pc:docMk/>
            <pc:sldMk cId="2422489847" sldId="2147473158"/>
            <ac:picMk id="14" creationId="{91FC0886-26C9-D159-9A48-13B3572AC980}"/>
          </ac:picMkLst>
        </pc:picChg>
      </pc:sldChg>
    </pc:docChg>
  </pc:docChgLst>
  <pc:docChgLst>
    <pc:chgData name="Ivan Gentile" userId="1703ff82-4a3d-4a0b-8903-a45633531d13" providerId="ADAL" clId="{90DEBC95-03C5-43DB-96F2-9695165DC4C3}"/>
    <pc:docChg chg="undo redo custSel addSld delSld modSld sldOrd">
      <pc:chgData name="Ivan Gentile" userId="1703ff82-4a3d-4a0b-8903-a45633531d13" providerId="ADAL" clId="{90DEBC95-03C5-43DB-96F2-9695165DC4C3}" dt="2024-03-04T16:31:19.251" v="4376" actId="1076"/>
      <pc:docMkLst>
        <pc:docMk/>
      </pc:docMkLst>
      <pc:sldChg chg="modSp mod">
        <pc:chgData name="Ivan Gentile" userId="1703ff82-4a3d-4a0b-8903-a45633531d13" providerId="ADAL" clId="{90DEBC95-03C5-43DB-96F2-9695165DC4C3}" dt="2024-03-04T14:36:55.211" v="800" actId="313"/>
        <pc:sldMkLst>
          <pc:docMk/>
          <pc:sldMk cId="3333774413" sldId="259"/>
        </pc:sldMkLst>
        <pc:spChg chg="mod">
          <ac:chgData name="Ivan Gentile" userId="1703ff82-4a3d-4a0b-8903-a45633531d13" providerId="ADAL" clId="{90DEBC95-03C5-43DB-96F2-9695165DC4C3}" dt="2024-03-04T14:36:55.211" v="800" actId="313"/>
          <ac:spMkLst>
            <pc:docMk/>
            <pc:sldMk cId="3333774413" sldId="259"/>
            <ac:spMk id="2" creationId="{11560AE6-B52B-B0BD-4057-F09D9D70B823}"/>
          </ac:spMkLst>
        </pc:spChg>
      </pc:sldChg>
      <pc:sldChg chg="modSp mod">
        <pc:chgData name="Ivan Gentile" userId="1703ff82-4a3d-4a0b-8903-a45633531d13" providerId="ADAL" clId="{90DEBC95-03C5-43DB-96F2-9695165DC4C3}" dt="2024-03-04T13:58:54.520" v="325" actId="20577"/>
        <pc:sldMkLst>
          <pc:docMk/>
          <pc:sldMk cId="724257521" sldId="260"/>
        </pc:sldMkLst>
        <pc:spChg chg="mod">
          <ac:chgData name="Ivan Gentile" userId="1703ff82-4a3d-4a0b-8903-a45633531d13" providerId="ADAL" clId="{90DEBC95-03C5-43DB-96F2-9695165DC4C3}" dt="2024-03-04T13:58:54.520" v="325" actId="20577"/>
          <ac:spMkLst>
            <pc:docMk/>
            <pc:sldMk cId="724257521" sldId="260"/>
            <ac:spMk id="2" creationId="{4ECD282D-0926-3619-2DB5-0EC9F9ADF32C}"/>
          </ac:spMkLst>
        </pc:spChg>
        <pc:spChg chg="mod">
          <ac:chgData name="Ivan Gentile" userId="1703ff82-4a3d-4a0b-8903-a45633531d13" providerId="ADAL" clId="{90DEBC95-03C5-43DB-96F2-9695165DC4C3}" dt="2024-03-04T13:58:50.733" v="324" actId="20577"/>
          <ac:spMkLst>
            <pc:docMk/>
            <pc:sldMk cId="724257521" sldId="260"/>
            <ac:spMk id="3" creationId="{BDE12663-3393-63EF-E2C0-FE0FD094F8CC}"/>
          </ac:spMkLst>
        </pc:spChg>
        <pc:picChg chg="mod">
          <ac:chgData name="Ivan Gentile" userId="1703ff82-4a3d-4a0b-8903-a45633531d13" providerId="ADAL" clId="{90DEBC95-03C5-43DB-96F2-9695165DC4C3}" dt="2024-03-04T13:57:40.444" v="165"/>
          <ac:picMkLst>
            <pc:docMk/>
            <pc:sldMk cId="724257521" sldId="260"/>
            <ac:picMk id="5" creationId="{953BB08A-5430-C6E8-0B2A-A9AD78F16D72}"/>
          </ac:picMkLst>
        </pc:picChg>
      </pc:sldChg>
      <pc:sldChg chg="delSp mod delAnim modNotesTx">
        <pc:chgData name="Ivan Gentile" userId="1703ff82-4a3d-4a0b-8903-a45633531d13" providerId="ADAL" clId="{90DEBC95-03C5-43DB-96F2-9695165DC4C3}" dt="2024-03-04T14:49:21.323" v="1460" actId="20577"/>
        <pc:sldMkLst>
          <pc:docMk/>
          <pc:sldMk cId="983047321" sldId="266"/>
        </pc:sldMkLst>
        <pc:spChg chg="del">
          <ac:chgData name="Ivan Gentile" userId="1703ff82-4a3d-4a0b-8903-a45633531d13" providerId="ADAL" clId="{90DEBC95-03C5-43DB-96F2-9695165DC4C3}" dt="2024-03-04T14:37:11.713" v="802" actId="478"/>
          <ac:spMkLst>
            <pc:docMk/>
            <pc:sldMk cId="983047321" sldId="266"/>
            <ac:spMk id="25" creationId="{140E79DD-8AC0-2232-97F9-F741D15AB565}"/>
          </ac:spMkLst>
        </pc:spChg>
      </pc:sldChg>
      <pc:sldChg chg="addSp delSp modSp mod">
        <pc:chgData name="Ivan Gentile" userId="1703ff82-4a3d-4a0b-8903-a45633531d13" providerId="ADAL" clId="{90DEBC95-03C5-43DB-96F2-9695165DC4C3}" dt="2024-03-04T14:59:02.484" v="1934" actId="1076"/>
        <pc:sldMkLst>
          <pc:docMk/>
          <pc:sldMk cId="2826615045" sldId="267"/>
        </pc:sldMkLst>
        <pc:spChg chg="add mod">
          <ac:chgData name="Ivan Gentile" userId="1703ff82-4a3d-4a0b-8903-a45633531d13" providerId="ADAL" clId="{90DEBC95-03C5-43DB-96F2-9695165DC4C3}" dt="2024-03-04T14:52:29.677" v="1786" actId="20577"/>
          <ac:spMkLst>
            <pc:docMk/>
            <pc:sldMk cId="2826615045" sldId="267"/>
            <ac:spMk id="2" creationId="{A11DD387-DF70-8263-AD3C-ACB1124834D0}"/>
          </ac:spMkLst>
        </pc:spChg>
        <pc:spChg chg="add mod">
          <ac:chgData name="Ivan Gentile" userId="1703ff82-4a3d-4a0b-8903-a45633531d13" providerId="ADAL" clId="{90DEBC95-03C5-43DB-96F2-9695165DC4C3}" dt="2024-03-04T14:55:56.377" v="1801" actId="207"/>
          <ac:spMkLst>
            <pc:docMk/>
            <pc:sldMk cId="2826615045" sldId="267"/>
            <ac:spMk id="3" creationId="{44B35C91-75C9-BCFC-3725-8285B76BF923}"/>
          </ac:spMkLst>
        </pc:spChg>
        <pc:spChg chg="del mod ord">
          <ac:chgData name="Ivan Gentile" userId="1703ff82-4a3d-4a0b-8903-a45633531d13" providerId="ADAL" clId="{90DEBC95-03C5-43DB-96F2-9695165DC4C3}" dt="2024-03-04T14:45:25.757" v="1343" actId="478"/>
          <ac:spMkLst>
            <pc:docMk/>
            <pc:sldMk cId="2826615045" sldId="267"/>
            <ac:spMk id="4" creationId="{75120C81-60DC-688B-9170-277BA2836B56}"/>
          </ac:spMkLst>
        </pc:spChg>
        <pc:spChg chg="mod">
          <ac:chgData name="Ivan Gentile" userId="1703ff82-4a3d-4a0b-8903-a45633531d13" providerId="ADAL" clId="{90DEBC95-03C5-43DB-96F2-9695165DC4C3}" dt="2024-03-04T14:59:02.484" v="1934" actId="1076"/>
          <ac:spMkLst>
            <pc:docMk/>
            <pc:sldMk cId="2826615045" sldId="267"/>
            <ac:spMk id="14" creationId="{BF32CCB5-56E4-5215-1758-9239A3A43832}"/>
          </ac:spMkLst>
        </pc:spChg>
        <pc:spChg chg="add del">
          <ac:chgData name="Ivan Gentile" userId="1703ff82-4a3d-4a0b-8903-a45633531d13" providerId="ADAL" clId="{90DEBC95-03C5-43DB-96F2-9695165DC4C3}" dt="2024-03-04T14:43:45.621" v="1299" actId="26606"/>
          <ac:spMkLst>
            <pc:docMk/>
            <pc:sldMk cId="2826615045" sldId="267"/>
            <ac:spMk id="19" creationId="{5A133C1E-CB83-47F3-8F35-94C2A7C58EE2}"/>
          </ac:spMkLst>
        </pc:spChg>
        <pc:spChg chg="add del">
          <ac:chgData name="Ivan Gentile" userId="1703ff82-4a3d-4a0b-8903-a45633531d13" providerId="ADAL" clId="{90DEBC95-03C5-43DB-96F2-9695165DC4C3}" dt="2024-03-04T14:43:45.621" v="1299" actId="26606"/>
          <ac:spMkLst>
            <pc:docMk/>
            <pc:sldMk cId="2826615045" sldId="267"/>
            <ac:spMk id="21" creationId="{289E943A-225D-44B1-B345-D7FDBA43C1CE}"/>
          </ac:spMkLst>
        </pc:spChg>
        <pc:picChg chg="mod ord">
          <ac:chgData name="Ivan Gentile" userId="1703ff82-4a3d-4a0b-8903-a45633531d13" providerId="ADAL" clId="{90DEBC95-03C5-43DB-96F2-9695165DC4C3}" dt="2024-03-04T14:47:19.960" v="1362" actId="1076"/>
          <ac:picMkLst>
            <pc:docMk/>
            <pc:sldMk cId="2826615045" sldId="267"/>
            <ac:picMk id="10" creationId="{24164F43-D476-FE5F-D4C3-7F749EC5F046}"/>
          </ac:picMkLst>
        </pc:picChg>
      </pc:sldChg>
      <pc:sldChg chg="modSp mod">
        <pc:chgData name="Ivan Gentile" userId="1703ff82-4a3d-4a0b-8903-a45633531d13" providerId="ADAL" clId="{90DEBC95-03C5-43DB-96F2-9695165DC4C3}" dt="2024-03-04T16:15:59.416" v="3893" actId="2711"/>
        <pc:sldMkLst>
          <pc:docMk/>
          <pc:sldMk cId="3761567387" sldId="268"/>
        </pc:sldMkLst>
        <pc:spChg chg="mod">
          <ac:chgData name="Ivan Gentile" userId="1703ff82-4a3d-4a0b-8903-a45633531d13" providerId="ADAL" clId="{90DEBC95-03C5-43DB-96F2-9695165DC4C3}" dt="2024-03-04T16:15:59.416" v="3893" actId="2711"/>
          <ac:spMkLst>
            <pc:docMk/>
            <pc:sldMk cId="3761567387" sldId="268"/>
            <ac:spMk id="7" creationId="{2264B8C1-2247-2FC6-07E7-875E24E48D93}"/>
          </ac:spMkLst>
        </pc:spChg>
      </pc:sldChg>
      <pc:sldChg chg="modSp mod">
        <pc:chgData name="Ivan Gentile" userId="1703ff82-4a3d-4a0b-8903-a45633531d13" providerId="ADAL" clId="{90DEBC95-03C5-43DB-96F2-9695165DC4C3}" dt="2024-03-04T16:16:07.586" v="3894" actId="2711"/>
        <pc:sldMkLst>
          <pc:docMk/>
          <pc:sldMk cId="3638757758" sldId="271"/>
        </pc:sldMkLst>
        <pc:spChg chg="mod">
          <ac:chgData name="Ivan Gentile" userId="1703ff82-4a3d-4a0b-8903-a45633531d13" providerId="ADAL" clId="{90DEBC95-03C5-43DB-96F2-9695165DC4C3}" dt="2024-03-04T16:16:07.586" v="3894" actId="2711"/>
          <ac:spMkLst>
            <pc:docMk/>
            <pc:sldMk cId="3638757758" sldId="271"/>
            <ac:spMk id="7" creationId="{2264B8C1-2247-2FC6-07E7-875E24E48D93}"/>
          </ac:spMkLst>
        </pc:spChg>
      </pc:sldChg>
      <pc:sldChg chg="modSp mod">
        <pc:chgData name="Ivan Gentile" userId="1703ff82-4a3d-4a0b-8903-a45633531d13" providerId="ADAL" clId="{90DEBC95-03C5-43DB-96F2-9695165DC4C3}" dt="2024-03-04T16:16:40.755" v="3923" actId="1035"/>
        <pc:sldMkLst>
          <pc:docMk/>
          <pc:sldMk cId="3047295777" sldId="272"/>
        </pc:sldMkLst>
        <pc:spChg chg="mod">
          <ac:chgData name="Ivan Gentile" userId="1703ff82-4a3d-4a0b-8903-a45633531d13" providerId="ADAL" clId="{90DEBC95-03C5-43DB-96F2-9695165DC4C3}" dt="2024-03-04T16:16:40.755" v="3923" actId="1035"/>
          <ac:spMkLst>
            <pc:docMk/>
            <pc:sldMk cId="3047295777" sldId="272"/>
            <ac:spMk id="7" creationId="{2264B8C1-2247-2FC6-07E7-875E24E48D93}"/>
          </ac:spMkLst>
        </pc:spChg>
        <pc:picChg chg="mod">
          <ac:chgData name="Ivan Gentile" userId="1703ff82-4a3d-4a0b-8903-a45633531d13" providerId="ADAL" clId="{90DEBC95-03C5-43DB-96F2-9695165DC4C3}" dt="2024-03-04T16:16:34.422" v="3904" actId="1038"/>
          <ac:picMkLst>
            <pc:docMk/>
            <pc:sldMk cId="3047295777" sldId="272"/>
            <ac:picMk id="13" creationId="{F1830116-0757-A15D-17EA-68565E5DCBA7}"/>
          </ac:picMkLst>
        </pc:picChg>
      </pc:sldChg>
      <pc:sldChg chg="modSp mod">
        <pc:chgData name="Ivan Gentile" userId="1703ff82-4a3d-4a0b-8903-a45633531d13" providerId="ADAL" clId="{90DEBC95-03C5-43DB-96F2-9695165DC4C3}" dt="2024-03-04T16:17:19.919" v="3931" actId="14100"/>
        <pc:sldMkLst>
          <pc:docMk/>
          <pc:sldMk cId="503666152" sldId="275"/>
        </pc:sldMkLst>
        <pc:spChg chg="mod">
          <ac:chgData name="Ivan Gentile" userId="1703ff82-4a3d-4a0b-8903-a45633531d13" providerId="ADAL" clId="{90DEBC95-03C5-43DB-96F2-9695165DC4C3}" dt="2024-03-04T16:17:13.658" v="3930" actId="122"/>
          <ac:spMkLst>
            <pc:docMk/>
            <pc:sldMk cId="503666152" sldId="275"/>
            <ac:spMk id="7" creationId="{67C21082-A944-5AD5-2E66-35008362B283}"/>
          </ac:spMkLst>
        </pc:spChg>
        <pc:spChg chg="mod">
          <ac:chgData name="Ivan Gentile" userId="1703ff82-4a3d-4a0b-8903-a45633531d13" providerId="ADAL" clId="{90DEBC95-03C5-43DB-96F2-9695165DC4C3}" dt="2024-03-04T16:17:19.919" v="3931" actId="14100"/>
          <ac:spMkLst>
            <pc:docMk/>
            <pc:sldMk cId="503666152" sldId="275"/>
            <ac:spMk id="9" creationId="{225E89F7-0A58-97D5-4153-24A4E0AB62CF}"/>
          </ac:spMkLst>
        </pc:spChg>
      </pc:sldChg>
      <pc:sldChg chg="mod modShow">
        <pc:chgData name="Ivan Gentile" userId="1703ff82-4a3d-4a0b-8903-a45633531d13" providerId="ADAL" clId="{90DEBC95-03C5-43DB-96F2-9695165DC4C3}" dt="2024-03-04T10:11:23.516" v="13" actId="729"/>
        <pc:sldMkLst>
          <pc:docMk/>
          <pc:sldMk cId="1529060345" sldId="276"/>
        </pc:sldMkLst>
      </pc:sldChg>
      <pc:sldChg chg="mod modShow">
        <pc:chgData name="Ivan Gentile" userId="1703ff82-4a3d-4a0b-8903-a45633531d13" providerId="ADAL" clId="{90DEBC95-03C5-43DB-96F2-9695165DC4C3}" dt="2024-03-04T15:40:42.660" v="3092" actId="729"/>
        <pc:sldMkLst>
          <pc:docMk/>
          <pc:sldMk cId="3768915631" sldId="277"/>
        </pc:sldMkLst>
      </pc:sldChg>
      <pc:sldChg chg="mod modShow">
        <pc:chgData name="Ivan Gentile" userId="1703ff82-4a3d-4a0b-8903-a45633531d13" providerId="ADAL" clId="{90DEBC95-03C5-43DB-96F2-9695165DC4C3}" dt="2024-03-04T10:11:20.808" v="12" actId="729"/>
        <pc:sldMkLst>
          <pc:docMk/>
          <pc:sldMk cId="4081294799" sldId="279"/>
        </pc:sldMkLst>
      </pc:sldChg>
      <pc:sldChg chg="mod modShow">
        <pc:chgData name="Ivan Gentile" userId="1703ff82-4a3d-4a0b-8903-a45633531d13" providerId="ADAL" clId="{90DEBC95-03C5-43DB-96F2-9695165DC4C3}" dt="2024-03-04T10:11:17.912" v="11" actId="729"/>
        <pc:sldMkLst>
          <pc:docMk/>
          <pc:sldMk cId="1714228269" sldId="280"/>
        </pc:sldMkLst>
      </pc:sldChg>
      <pc:sldChg chg="modSp mod">
        <pc:chgData name="Ivan Gentile" userId="1703ff82-4a3d-4a0b-8903-a45633531d13" providerId="ADAL" clId="{90DEBC95-03C5-43DB-96F2-9695165DC4C3}" dt="2024-03-04T16:29:03.486" v="4365" actId="20577"/>
        <pc:sldMkLst>
          <pc:docMk/>
          <pc:sldMk cId="1491987287" sldId="281"/>
        </pc:sldMkLst>
        <pc:spChg chg="mod">
          <ac:chgData name="Ivan Gentile" userId="1703ff82-4a3d-4a0b-8903-a45633531d13" providerId="ADAL" clId="{90DEBC95-03C5-43DB-96F2-9695165DC4C3}" dt="2024-03-04T16:22:59.802" v="4178" actId="20577"/>
          <ac:spMkLst>
            <pc:docMk/>
            <pc:sldMk cId="1491987287" sldId="281"/>
            <ac:spMk id="2" creationId="{F19766F7-FC64-35FC-E7ED-30EED973BA54}"/>
          </ac:spMkLst>
        </pc:spChg>
        <pc:spChg chg="mod">
          <ac:chgData name="Ivan Gentile" userId="1703ff82-4a3d-4a0b-8903-a45633531d13" providerId="ADAL" clId="{90DEBC95-03C5-43DB-96F2-9695165DC4C3}" dt="2024-03-04T16:29:03.486" v="4365" actId="20577"/>
          <ac:spMkLst>
            <pc:docMk/>
            <pc:sldMk cId="1491987287" sldId="281"/>
            <ac:spMk id="3" creationId="{B1420BE3-1988-2740-F37F-FDE119D79C1D}"/>
          </ac:spMkLst>
        </pc:spChg>
      </pc:sldChg>
      <pc:sldChg chg="mod modShow">
        <pc:chgData name="Ivan Gentile" userId="1703ff82-4a3d-4a0b-8903-a45633531d13" providerId="ADAL" clId="{90DEBC95-03C5-43DB-96F2-9695165DC4C3}" dt="2024-03-04T10:11:13.647" v="9" actId="729"/>
        <pc:sldMkLst>
          <pc:docMk/>
          <pc:sldMk cId="4058991015" sldId="282"/>
        </pc:sldMkLst>
      </pc:sldChg>
      <pc:sldChg chg="mod modShow">
        <pc:chgData name="Ivan Gentile" userId="1703ff82-4a3d-4a0b-8903-a45633531d13" providerId="ADAL" clId="{90DEBC95-03C5-43DB-96F2-9695165DC4C3}" dt="2024-03-04T10:11:14.812" v="10" actId="729"/>
        <pc:sldMkLst>
          <pc:docMk/>
          <pc:sldMk cId="4178613659" sldId="283"/>
        </pc:sldMkLst>
      </pc:sldChg>
      <pc:sldChg chg="delSp modSp mod ord modShow">
        <pc:chgData name="Ivan Gentile" userId="1703ff82-4a3d-4a0b-8903-a45633531d13" providerId="ADAL" clId="{90DEBC95-03C5-43DB-96F2-9695165DC4C3}" dt="2024-03-04T15:41:13.522" v="3127" actId="478"/>
        <pc:sldMkLst>
          <pc:docMk/>
          <pc:sldMk cId="3251806217" sldId="285"/>
        </pc:sldMkLst>
        <pc:spChg chg="del">
          <ac:chgData name="Ivan Gentile" userId="1703ff82-4a3d-4a0b-8903-a45633531d13" providerId="ADAL" clId="{90DEBC95-03C5-43DB-96F2-9695165DC4C3}" dt="2024-03-04T15:41:13.522" v="3127" actId="478"/>
          <ac:spMkLst>
            <pc:docMk/>
            <pc:sldMk cId="3251806217" sldId="285"/>
            <ac:spMk id="4" creationId="{E1437FFC-814B-8A11-C76B-57ED0B8CEC80}"/>
          </ac:spMkLst>
        </pc:spChg>
        <pc:spChg chg="mod">
          <ac:chgData name="Ivan Gentile" userId="1703ff82-4a3d-4a0b-8903-a45633531d13" providerId="ADAL" clId="{90DEBC95-03C5-43DB-96F2-9695165DC4C3}" dt="2024-03-04T15:41:06.493" v="3126" actId="403"/>
          <ac:spMkLst>
            <pc:docMk/>
            <pc:sldMk cId="3251806217" sldId="285"/>
            <ac:spMk id="8" creationId="{F858E674-1914-13E9-0326-589AC2041A69}"/>
          </ac:spMkLst>
        </pc:spChg>
        <pc:spChg chg="del">
          <ac:chgData name="Ivan Gentile" userId="1703ff82-4a3d-4a0b-8903-a45633531d13" providerId="ADAL" clId="{90DEBC95-03C5-43DB-96F2-9695165DC4C3}" dt="2024-03-04T15:40:52.591" v="3094" actId="478"/>
          <ac:spMkLst>
            <pc:docMk/>
            <pc:sldMk cId="3251806217" sldId="285"/>
            <ac:spMk id="9" creationId="{168FA8D7-B704-D8E7-4BF0-824758944903}"/>
          </ac:spMkLst>
        </pc:spChg>
      </pc:sldChg>
      <pc:sldChg chg="modSp mod">
        <pc:chgData name="Ivan Gentile" userId="1703ff82-4a3d-4a0b-8903-a45633531d13" providerId="ADAL" clId="{90DEBC95-03C5-43DB-96F2-9695165DC4C3}" dt="2024-03-04T16:16:24.675" v="3896" actId="2711"/>
        <pc:sldMkLst>
          <pc:docMk/>
          <pc:sldMk cId="1664277489" sldId="292"/>
        </pc:sldMkLst>
        <pc:spChg chg="mod">
          <ac:chgData name="Ivan Gentile" userId="1703ff82-4a3d-4a0b-8903-a45633531d13" providerId="ADAL" clId="{90DEBC95-03C5-43DB-96F2-9695165DC4C3}" dt="2024-03-04T16:16:24.675" v="3896" actId="2711"/>
          <ac:spMkLst>
            <pc:docMk/>
            <pc:sldMk cId="1664277489" sldId="292"/>
            <ac:spMk id="10" creationId="{7CD0CE84-614A-86F6-AA73-DA831DA6A0B8}"/>
          </ac:spMkLst>
        </pc:spChg>
      </pc:sldChg>
      <pc:sldChg chg="modSp mod">
        <pc:chgData name="Ivan Gentile" userId="1703ff82-4a3d-4a0b-8903-a45633531d13" providerId="ADAL" clId="{90DEBC95-03C5-43DB-96F2-9695165DC4C3}" dt="2024-03-04T16:24:51.410" v="4255" actId="1076"/>
        <pc:sldMkLst>
          <pc:docMk/>
          <pc:sldMk cId="1940893355" sldId="293"/>
        </pc:sldMkLst>
        <pc:spChg chg="mod">
          <ac:chgData name="Ivan Gentile" userId="1703ff82-4a3d-4a0b-8903-a45633531d13" providerId="ADAL" clId="{90DEBC95-03C5-43DB-96F2-9695165DC4C3}" dt="2024-03-04T16:24:51.410" v="4255" actId="1076"/>
          <ac:spMkLst>
            <pc:docMk/>
            <pc:sldMk cId="1940893355" sldId="293"/>
            <ac:spMk id="9" creationId="{D396BC03-7718-2302-5A33-00F2779D9137}"/>
          </ac:spMkLst>
        </pc:spChg>
      </pc:sldChg>
      <pc:sldChg chg="modSp mod">
        <pc:chgData name="Ivan Gentile" userId="1703ff82-4a3d-4a0b-8903-a45633531d13" providerId="ADAL" clId="{90DEBC95-03C5-43DB-96F2-9695165DC4C3}" dt="2024-03-04T16:31:19.251" v="4376" actId="1076"/>
        <pc:sldMkLst>
          <pc:docMk/>
          <pc:sldMk cId="2148463235" sldId="297"/>
        </pc:sldMkLst>
        <pc:spChg chg="mod">
          <ac:chgData name="Ivan Gentile" userId="1703ff82-4a3d-4a0b-8903-a45633531d13" providerId="ADAL" clId="{90DEBC95-03C5-43DB-96F2-9695165DC4C3}" dt="2024-03-04T16:31:19.251" v="4376" actId="1076"/>
          <ac:spMkLst>
            <pc:docMk/>
            <pc:sldMk cId="2148463235" sldId="297"/>
            <ac:spMk id="14" creationId="{E03CC9E1-164D-5420-F249-3B42A64A3F6D}"/>
          </ac:spMkLst>
        </pc:spChg>
        <pc:picChg chg="mod">
          <ac:chgData name="Ivan Gentile" userId="1703ff82-4a3d-4a0b-8903-a45633531d13" providerId="ADAL" clId="{90DEBC95-03C5-43DB-96F2-9695165DC4C3}" dt="2024-03-04T16:31:00.240" v="4375" actId="1076"/>
          <ac:picMkLst>
            <pc:docMk/>
            <pc:sldMk cId="2148463235" sldId="297"/>
            <ac:picMk id="11268" creationId="{A9EAFFC3-11F2-49D1-B092-8DE384286EEB}"/>
          </ac:picMkLst>
        </pc:picChg>
      </pc:sldChg>
      <pc:sldChg chg="modSp mod modShow">
        <pc:chgData name="Ivan Gentile" userId="1703ff82-4a3d-4a0b-8903-a45633531d13" providerId="ADAL" clId="{90DEBC95-03C5-43DB-96F2-9695165DC4C3}" dt="2024-03-04T09:51:30.430" v="8" actId="1076"/>
        <pc:sldMkLst>
          <pc:docMk/>
          <pc:sldMk cId="3273476606" sldId="301"/>
        </pc:sldMkLst>
        <pc:picChg chg="mod">
          <ac:chgData name="Ivan Gentile" userId="1703ff82-4a3d-4a0b-8903-a45633531d13" providerId="ADAL" clId="{90DEBC95-03C5-43DB-96F2-9695165DC4C3}" dt="2024-03-04T09:51:30.430" v="8" actId="1076"/>
          <ac:picMkLst>
            <pc:docMk/>
            <pc:sldMk cId="3273476606" sldId="301"/>
            <ac:picMk id="6" creationId="{538577CA-1AEA-3406-D641-3B22376FFA76}"/>
          </ac:picMkLst>
        </pc:picChg>
      </pc:sldChg>
      <pc:sldChg chg="modSp mod">
        <pc:chgData name="Ivan Gentile" userId="1703ff82-4a3d-4a0b-8903-a45633531d13" providerId="ADAL" clId="{90DEBC95-03C5-43DB-96F2-9695165DC4C3}" dt="2024-03-04T16:18:07.397" v="4006" actId="1035"/>
        <pc:sldMkLst>
          <pc:docMk/>
          <pc:sldMk cId="3672521465" sldId="303"/>
        </pc:sldMkLst>
        <pc:spChg chg="mod">
          <ac:chgData name="Ivan Gentile" userId="1703ff82-4a3d-4a0b-8903-a45633531d13" providerId="ADAL" clId="{90DEBC95-03C5-43DB-96F2-9695165DC4C3}" dt="2024-03-04T16:17:33.501" v="3932" actId="2711"/>
          <ac:spMkLst>
            <pc:docMk/>
            <pc:sldMk cId="3672521465" sldId="303"/>
            <ac:spMk id="7" creationId="{3F7696ED-FDD2-FB2F-6C65-2A660FC10C69}"/>
          </ac:spMkLst>
        </pc:spChg>
        <pc:spChg chg="mod">
          <ac:chgData name="Ivan Gentile" userId="1703ff82-4a3d-4a0b-8903-a45633531d13" providerId="ADAL" clId="{90DEBC95-03C5-43DB-96F2-9695165DC4C3}" dt="2024-03-04T16:18:03.846" v="3993" actId="1036"/>
          <ac:spMkLst>
            <pc:docMk/>
            <pc:sldMk cId="3672521465" sldId="303"/>
            <ac:spMk id="9" creationId="{ED04212C-FD42-7E1C-5769-C4C7EF52178D}"/>
          </ac:spMkLst>
        </pc:spChg>
        <pc:spChg chg="mod">
          <ac:chgData name="Ivan Gentile" userId="1703ff82-4a3d-4a0b-8903-a45633531d13" providerId="ADAL" clId="{90DEBC95-03C5-43DB-96F2-9695165DC4C3}" dt="2024-03-04T16:18:07.397" v="4006" actId="1035"/>
          <ac:spMkLst>
            <pc:docMk/>
            <pc:sldMk cId="3672521465" sldId="303"/>
            <ac:spMk id="11" creationId="{4B45DCC3-9951-739F-C07F-0FBFC2A152CF}"/>
          </ac:spMkLst>
        </pc:spChg>
      </pc:sldChg>
      <pc:sldChg chg="modSp mod">
        <pc:chgData name="Ivan Gentile" userId="1703ff82-4a3d-4a0b-8903-a45633531d13" providerId="ADAL" clId="{90DEBC95-03C5-43DB-96F2-9695165DC4C3}" dt="2024-03-04T16:20:01.931" v="4023" actId="2711"/>
        <pc:sldMkLst>
          <pc:docMk/>
          <pc:sldMk cId="4136034824" sldId="309"/>
        </pc:sldMkLst>
        <pc:spChg chg="mod">
          <ac:chgData name="Ivan Gentile" userId="1703ff82-4a3d-4a0b-8903-a45633531d13" providerId="ADAL" clId="{90DEBC95-03C5-43DB-96F2-9695165DC4C3}" dt="2024-03-04T16:20:01.931" v="4023" actId="2711"/>
          <ac:spMkLst>
            <pc:docMk/>
            <pc:sldMk cId="4136034824" sldId="309"/>
            <ac:spMk id="8" creationId="{BB3BCDDC-FE21-990F-010D-2E71E3855F48}"/>
          </ac:spMkLst>
        </pc:spChg>
        <pc:picChg chg="mod">
          <ac:chgData name="Ivan Gentile" userId="1703ff82-4a3d-4a0b-8903-a45633531d13" providerId="ADAL" clId="{90DEBC95-03C5-43DB-96F2-9695165DC4C3}" dt="2024-03-04T16:13:01.881" v="3760" actId="1076"/>
          <ac:picMkLst>
            <pc:docMk/>
            <pc:sldMk cId="4136034824" sldId="309"/>
            <ac:picMk id="9218" creationId="{B46D6818-E447-C544-683C-29492EA43751}"/>
          </ac:picMkLst>
        </pc:picChg>
      </pc:sldChg>
      <pc:sldChg chg="modSp mod">
        <pc:chgData name="Ivan Gentile" userId="1703ff82-4a3d-4a0b-8903-a45633531d13" providerId="ADAL" clId="{90DEBC95-03C5-43DB-96F2-9695165DC4C3}" dt="2024-03-04T16:29:49.261" v="4369" actId="1076"/>
        <pc:sldMkLst>
          <pc:docMk/>
          <pc:sldMk cId="2856141762" sldId="311"/>
        </pc:sldMkLst>
        <pc:spChg chg="mod">
          <ac:chgData name="Ivan Gentile" userId="1703ff82-4a3d-4a0b-8903-a45633531d13" providerId="ADAL" clId="{90DEBC95-03C5-43DB-96F2-9695165DC4C3}" dt="2024-03-04T16:29:49.261" v="4369" actId="1076"/>
          <ac:spMkLst>
            <pc:docMk/>
            <pc:sldMk cId="2856141762" sldId="311"/>
            <ac:spMk id="9" creationId="{37CEA42F-BFF1-B54D-3560-F3D3E95043AC}"/>
          </ac:spMkLst>
        </pc:spChg>
      </pc:sldChg>
      <pc:sldChg chg="modSp new mod">
        <pc:chgData name="Ivan Gentile" userId="1703ff82-4a3d-4a0b-8903-a45633531d13" providerId="ADAL" clId="{90DEBC95-03C5-43DB-96F2-9695165DC4C3}" dt="2024-03-04T16:19:13.918" v="4020" actId="1038"/>
        <pc:sldMkLst>
          <pc:docMk/>
          <pc:sldMk cId="979393538" sldId="312"/>
        </pc:sldMkLst>
        <pc:spChg chg="mod">
          <ac:chgData name="Ivan Gentile" userId="1703ff82-4a3d-4a0b-8903-a45633531d13" providerId="ADAL" clId="{90DEBC95-03C5-43DB-96F2-9695165DC4C3}" dt="2024-03-04T15:44:50.218" v="3162" actId="20577"/>
          <ac:spMkLst>
            <pc:docMk/>
            <pc:sldMk cId="979393538" sldId="312"/>
            <ac:spMk id="2" creationId="{18942E82-4192-1034-1DA5-9B957ECF05D7}"/>
          </ac:spMkLst>
        </pc:spChg>
        <pc:spChg chg="mod">
          <ac:chgData name="Ivan Gentile" userId="1703ff82-4a3d-4a0b-8903-a45633531d13" providerId="ADAL" clId="{90DEBC95-03C5-43DB-96F2-9695165DC4C3}" dt="2024-03-04T16:19:13.918" v="4020" actId="1038"/>
          <ac:spMkLst>
            <pc:docMk/>
            <pc:sldMk cId="979393538" sldId="312"/>
            <ac:spMk id="3" creationId="{F01A1794-7129-C04C-58A1-0425A5E56998}"/>
          </ac:spMkLst>
        </pc:spChg>
      </pc:sldChg>
      <pc:sldChg chg="modSp new mod modNotesTx">
        <pc:chgData name="Ivan Gentile" userId="1703ff82-4a3d-4a0b-8903-a45633531d13" providerId="ADAL" clId="{90DEBC95-03C5-43DB-96F2-9695165DC4C3}" dt="2024-03-04T16:15:04.523" v="3890" actId="5793"/>
        <pc:sldMkLst>
          <pc:docMk/>
          <pc:sldMk cId="3231370554" sldId="313"/>
        </pc:sldMkLst>
        <pc:spChg chg="mod">
          <ac:chgData name="Ivan Gentile" userId="1703ff82-4a3d-4a0b-8903-a45633531d13" providerId="ADAL" clId="{90DEBC95-03C5-43DB-96F2-9695165DC4C3}" dt="2024-03-04T15:46:34.726" v="3216" actId="20577"/>
          <ac:spMkLst>
            <pc:docMk/>
            <pc:sldMk cId="3231370554" sldId="313"/>
            <ac:spMk id="2" creationId="{4DA301EE-34CC-4424-1119-6F24AB9A786A}"/>
          </ac:spMkLst>
        </pc:spChg>
        <pc:spChg chg="mod">
          <ac:chgData name="Ivan Gentile" userId="1703ff82-4a3d-4a0b-8903-a45633531d13" providerId="ADAL" clId="{90DEBC95-03C5-43DB-96F2-9695165DC4C3}" dt="2024-03-04T16:10:51.031" v="3727" actId="14100"/>
          <ac:spMkLst>
            <pc:docMk/>
            <pc:sldMk cId="3231370554" sldId="313"/>
            <ac:spMk id="3" creationId="{61702EF3-22C9-6B89-57B3-765B87BF1EE1}"/>
          </ac:spMkLst>
        </pc:spChg>
      </pc:sldChg>
      <pc:sldChg chg="addSp delSp modSp new mod">
        <pc:chgData name="Ivan Gentile" userId="1703ff82-4a3d-4a0b-8903-a45633531d13" providerId="ADAL" clId="{90DEBC95-03C5-43DB-96F2-9695165DC4C3}" dt="2024-03-04T15:14:08.700" v="2566" actId="20577"/>
        <pc:sldMkLst>
          <pc:docMk/>
          <pc:sldMk cId="2503671340" sldId="314"/>
        </pc:sldMkLst>
        <pc:spChg chg="mod">
          <ac:chgData name="Ivan Gentile" userId="1703ff82-4a3d-4a0b-8903-a45633531d13" providerId="ADAL" clId="{90DEBC95-03C5-43DB-96F2-9695165DC4C3}" dt="2024-03-04T15:10:45.508" v="2476"/>
          <ac:spMkLst>
            <pc:docMk/>
            <pc:sldMk cId="2503671340" sldId="314"/>
            <ac:spMk id="2" creationId="{CFDCAE35-317A-8909-7042-0B158F85152D}"/>
          </ac:spMkLst>
        </pc:spChg>
        <pc:spChg chg="del">
          <ac:chgData name="Ivan Gentile" userId="1703ff82-4a3d-4a0b-8903-a45633531d13" providerId="ADAL" clId="{90DEBC95-03C5-43DB-96F2-9695165DC4C3}" dt="2024-03-04T10:24:04.446" v="157" actId="22"/>
          <ac:spMkLst>
            <pc:docMk/>
            <pc:sldMk cId="2503671340" sldId="314"/>
            <ac:spMk id="3" creationId="{67D28180-E703-E771-6A0F-50A78616D930}"/>
          </ac:spMkLst>
        </pc:spChg>
        <pc:spChg chg="add del mod">
          <ac:chgData name="Ivan Gentile" userId="1703ff82-4a3d-4a0b-8903-a45633531d13" providerId="ADAL" clId="{90DEBC95-03C5-43DB-96F2-9695165DC4C3}" dt="2024-03-04T15:02:54.931" v="2050" actId="478"/>
          <ac:spMkLst>
            <pc:docMk/>
            <pc:sldMk cId="2503671340" sldId="314"/>
            <ac:spMk id="3" creationId="{C3E5E9BD-2340-E5DF-3093-278A58F26962}"/>
          </ac:spMkLst>
        </pc:spChg>
        <pc:spChg chg="mod">
          <ac:chgData name="Ivan Gentile" userId="1703ff82-4a3d-4a0b-8903-a45633531d13" providerId="ADAL" clId="{90DEBC95-03C5-43DB-96F2-9695165DC4C3}" dt="2024-03-04T15:10:45.103" v="2475"/>
          <ac:spMkLst>
            <pc:docMk/>
            <pc:sldMk cId="2503671340" sldId="314"/>
            <ac:spMk id="4" creationId="{60E040D7-807F-D6A6-260C-E79EA0478D2F}"/>
          </ac:spMkLst>
        </pc:spChg>
        <pc:spChg chg="add mod">
          <ac:chgData name="Ivan Gentile" userId="1703ff82-4a3d-4a0b-8903-a45633531d13" providerId="ADAL" clId="{90DEBC95-03C5-43DB-96F2-9695165DC4C3}" dt="2024-03-04T15:10:44.648" v="2474"/>
          <ac:spMkLst>
            <pc:docMk/>
            <pc:sldMk cId="2503671340" sldId="314"/>
            <ac:spMk id="5" creationId="{49B0B78C-D5B2-2B6D-372B-2969608FF7E5}"/>
          </ac:spMkLst>
        </pc:spChg>
        <pc:spChg chg="add mod">
          <ac:chgData name="Ivan Gentile" userId="1703ff82-4a3d-4a0b-8903-a45633531d13" providerId="ADAL" clId="{90DEBC95-03C5-43DB-96F2-9695165DC4C3}" dt="2024-03-04T15:10:44.190" v="2473"/>
          <ac:spMkLst>
            <pc:docMk/>
            <pc:sldMk cId="2503671340" sldId="314"/>
            <ac:spMk id="7" creationId="{365D789F-7CB5-5E18-D9E0-8BE0091D380A}"/>
          </ac:spMkLst>
        </pc:spChg>
        <pc:spChg chg="add mod">
          <ac:chgData name="Ivan Gentile" userId="1703ff82-4a3d-4a0b-8903-a45633531d13" providerId="ADAL" clId="{90DEBC95-03C5-43DB-96F2-9695165DC4C3}" dt="2024-03-04T15:10:43.689" v="2472"/>
          <ac:spMkLst>
            <pc:docMk/>
            <pc:sldMk cId="2503671340" sldId="314"/>
            <ac:spMk id="8" creationId="{C6C9B5B5-6790-EBF4-4A6C-BE5071CE1DE0}"/>
          </ac:spMkLst>
        </pc:spChg>
        <pc:spChg chg="add mod">
          <ac:chgData name="Ivan Gentile" userId="1703ff82-4a3d-4a0b-8903-a45633531d13" providerId="ADAL" clId="{90DEBC95-03C5-43DB-96F2-9695165DC4C3}" dt="2024-03-04T15:13:17.762" v="2545" actId="20577"/>
          <ac:spMkLst>
            <pc:docMk/>
            <pc:sldMk cId="2503671340" sldId="314"/>
            <ac:spMk id="9" creationId="{E370D368-375E-8EE9-AB8E-DA8C66657FF7}"/>
          </ac:spMkLst>
        </pc:spChg>
        <pc:spChg chg="add mod">
          <ac:chgData name="Ivan Gentile" userId="1703ff82-4a3d-4a0b-8903-a45633531d13" providerId="ADAL" clId="{90DEBC95-03C5-43DB-96F2-9695165DC4C3}" dt="2024-03-04T15:13:20.529" v="2549" actId="20577"/>
          <ac:spMkLst>
            <pc:docMk/>
            <pc:sldMk cId="2503671340" sldId="314"/>
            <ac:spMk id="10" creationId="{470E894F-C61F-65FA-884E-0837F7057B10}"/>
          </ac:spMkLst>
        </pc:spChg>
        <pc:spChg chg="add mod">
          <ac:chgData name="Ivan Gentile" userId="1703ff82-4a3d-4a0b-8903-a45633531d13" providerId="ADAL" clId="{90DEBC95-03C5-43DB-96F2-9695165DC4C3}" dt="2024-03-04T15:10:42.395" v="2469"/>
          <ac:spMkLst>
            <pc:docMk/>
            <pc:sldMk cId="2503671340" sldId="314"/>
            <ac:spMk id="11" creationId="{C7E614C8-4AD5-8DF7-4A66-BA06B09FD07F}"/>
          </ac:spMkLst>
        </pc:spChg>
        <pc:spChg chg="add mod">
          <ac:chgData name="Ivan Gentile" userId="1703ff82-4a3d-4a0b-8903-a45633531d13" providerId="ADAL" clId="{90DEBC95-03C5-43DB-96F2-9695165DC4C3}" dt="2024-03-04T15:10:41.919" v="2468"/>
          <ac:spMkLst>
            <pc:docMk/>
            <pc:sldMk cId="2503671340" sldId="314"/>
            <ac:spMk id="12" creationId="{08CEAD52-3660-7AF8-C958-603815DB08FF}"/>
          </ac:spMkLst>
        </pc:spChg>
        <pc:spChg chg="add mod">
          <ac:chgData name="Ivan Gentile" userId="1703ff82-4a3d-4a0b-8903-a45633531d13" providerId="ADAL" clId="{90DEBC95-03C5-43DB-96F2-9695165DC4C3}" dt="2024-03-04T15:14:08.700" v="2566" actId="20577"/>
          <ac:spMkLst>
            <pc:docMk/>
            <pc:sldMk cId="2503671340" sldId="314"/>
            <ac:spMk id="13" creationId="{A551A5A8-F485-84AF-12D4-DD055851F48B}"/>
          </ac:spMkLst>
        </pc:spChg>
        <pc:spChg chg="add mod">
          <ac:chgData name="Ivan Gentile" userId="1703ff82-4a3d-4a0b-8903-a45633531d13" providerId="ADAL" clId="{90DEBC95-03C5-43DB-96F2-9695165DC4C3}" dt="2024-03-04T15:10:41.453" v="2467"/>
          <ac:spMkLst>
            <pc:docMk/>
            <pc:sldMk cId="2503671340" sldId="314"/>
            <ac:spMk id="14" creationId="{1927F9A6-DFA6-F36C-B346-ED6F73D75A4F}"/>
          </ac:spMkLst>
        </pc:spChg>
        <pc:spChg chg="add del mod">
          <ac:chgData name="Ivan Gentile" userId="1703ff82-4a3d-4a0b-8903-a45633531d13" providerId="ADAL" clId="{90DEBC95-03C5-43DB-96F2-9695165DC4C3}" dt="2024-03-04T15:07:40.814" v="2329" actId="478"/>
          <ac:spMkLst>
            <pc:docMk/>
            <pc:sldMk cId="2503671340" sldId="314"/>
            <ac:spMk id="16" creationId="{825E5543-9A1F-2E1C-E817-2275741E3EE7}"/>
          </ac:spMkLst>
        </pc:spChg>
        <pc:spChg chg="add mod">
          <ac:chgData name="Ivan Gentile" userId="1703ff82-4a3d-4a0b-8903-a45633531d13" providerId="ADAL" clId="{90DEBC95-03C5-43DB-96F2-9695165DC4C3}" dt="2024-03-04T15:12:17.425" v="2511" actId="20577"/>
          <ac:spMkLst>
            <pc:docMk/>
            <pc:sldMk cId="2503671340" sldId="314"/>
            <ac:spMk id="41" creationId="{DD550D40-7F3D-9949-E487-DBE6722F20AA}"/>
          </ac:spMkLst>
        </pc:spChg>
        <pc:spChg chg="add mod">
          <ac:chgData name="Ivan Gentile" userId="1703ff82-4a3d-4a0b-8903-a45633531d13" providerId="ADAL" clId="{90DEBC95-03C5-43DB-96F2-9695165DC4C3}" dt="2024-03-04T15:12:23.712" v="2513" actId="1076"/>
          <ac:spMkLst>
            <pc:docMk/>
            <pc:sldMk cId="2503671340" sldId="314"/>
            <ac:spMk id="42" creationId="{D42E774C-3C77-BD63-1E63-A7281E22921E}"/>
          </ac:spMkLst>
        </pc:spChg>
        <pc:spChg chg="add mod">
          <ac:chgData name="Ivan Gentile" userId="1703ff82-4a3d-4a0b-8903-a45633531d13" providerId="ADAL" clId="{90DEBC95-03C5-43DB-96F2-9695165DC4C3}" dt="2024-03-04T15:12:46.565" v="2524" actId="1076"/>
          <ac:spMkLst>
            <pc:docMk/>
            <pc:sldMk cId="2503671340" sldId="314"/>
            <ac:spMk id="43" creationId="{737C660A-CC1F-4CC8-9EA0-462DB4602E50}"/>
          </ac:spMkLst>
        </pc:spChg>
        <pc:spChg chg="add mod">
          <ac:chgData name="Ivan Gentile" userId="1703ff82-4a3d-4a0b-8903-a45633531d13" providerId="ADAL" clId="{90DEBC95-03C5-43DB-96F2-9695165DC4C3}" dt="2024-03-04T15:12:59.299" v="2530" actId="1076"/>
          <ac:spMkLst>
            <pc:docMk/>
            <pc:sldMk cId="2503671340" sldId="314"/>
            <ac:spMk id="44" creationId="{56BEA6C0-7A8B-E8E9-89C3-6115E0746C8C}"/>
          </ac:spMkLst>
        </pc:spChg>
        <pc:spChg chg="add del mod">
          <ac:chgData name="Ivan Gentile" userId="1703ff82-4a3d-4a0b-8903-a45633531d13" providerId="ADAL" clId="{90DEBC95-03C5-43DB-96F2-9695165DC4C3}" dt="2024-03-04T15:12:32.489" v="2522" actId="20577"/>
          <ac:spMkLst>
            <pc:docMk/>
            <pc:sldMk cId="2503671340" sldId="314"/>
            <ac:spMk id="45" creationId="{8EF73E8D-C61F-EF70-A86F-EEE1DFB3E22A}"/>
          </ac:spMkLst>
        </pc:spChg>
        <pc:spChg chg="add mod">
          <ac:chgData name="Ivan Gentile" userId="1703ff82-4a3d-4a0b-8903-a45633531d13" providerId="ADAL" clId="{90DEBC95-03C5-43DB-96F2-9695165DC4C3}" dt="2024-03-04T15:12:51.114" v="2528" actId="1037"/>
          <ac:spMkLst>
            <pc:docMk/>
            <pc:sldMk cId="2503671340" sldId="314"/>
            <ac:spMk id="46" creationId="{D8A5ABAA-7C2E-97D2-BBC4-5EDF5000F6E9}"/>
          </ac:spMkLst>
        </pc:spChg>
        <pc:spChg chg="add mod">
          <ac:chgData name="Ivan Gentile" userId="1703ff82-4a3d-4a0b-8903-a45633531d13" providerId="ADAL" clId="{90DEBC95-03C5-43DB-96F2-9695165DC4C3}" dt="2024-03-04T15:12:54.394" v="2529" actId="571"/>
          <ac:spMkLst>
            <pc:docMk/>
            <pc:sldMk cId="2503671340" sldId="314"/>
            <ac:spMk id="47" creationId="{32FB2A21-8FDA-9D58-5148-A08FE79F91CA}"/>
          </ac:spMkLst>
        </pc:spChg>
        <pc:spChg chg="add mod">
          <ac:chgData name="Ivan Gentile" userId="1703ff82-4a3d-4a0b-8903-a45633531d13" providerId="ADAL" clId="{90DEBC95-03C5-43DB-96F2-9695165DC4C3}" dt="2024-03-04T15:13:12.006" v="2531" actId="571"/>
          <ac:spMkLst>
            <pc:docMk/>
            <pc:sldMk cId="2503671340" sldId="314"/>
            <ac:spMk id="48" creationId="{3924ECAA-4A6F-A73C-A4C5-707E9889E3B6}"/>
          </ac:spMkLst>
        </pc:spChg>
        <pc:picChg chg="add del mod ord">
          <ac:chgData name="Ivan Gentile" userId="1703ff82-4a3d-4a0b-8903-a45633531d13" providerId="ADAL" clId="{90DEBC95-03C5-43DB-96F2-9695165DC4C3}" dt="2024-03-04T15:07:28.713" v="2327" actId="478"/>
          <ac:picMkLst>
            <pc:docMk/>
            <pc:sldMk cId="2503671340" sldId="314"/>
            <ac:picMk id="6" creationId="{DA04D956-BCBC-8CA5-98D3-0808329B74A4}"/>
          </ac:picMkLst>
        </pc:picChg>
        <pc:cxnChg chg="add mod">
          <ac:chgData name="Ivan Gentile" userId="1703ff82-4a3d-4a0b-8903-a45633531d13" providerId="ADAL" clId="{90DEBC95-03C5-43DB-96F2-9695165DC4C3}" dt="2024-03-04T15:10:39.107" v="2464"/>
          <ac:cxnSpMkLst>
            <pc:docMk/>
            <pc:sldMk cId="2503671340" sldId="314"/>
            <ac:cxnSpMk id="18" creationId="{2E536ECE-1AEB-848E-25C4-C9FAA040D709}"/>
          </ac:cxnSpMkLst>
        </pc:cxnChg>
        <pc:cxnChg chg="add mod">
          <ac:chgData name="Ivan Gentile" userId="1703ff82-4a3d-4a0b-8903-a45633531d13" providerId="ADAL" clId="{90DEBC95-03C5-43DB-96F2-9695165DC4C3}" dt="2024-03-04T15:10:37.774" v="2463"/>
          <ac:cxnSpMkLst>
            <pc:docMk/>
            <pc:sldMk cId="2503671340" sldId="314"/>
            <ac:cxnSpMk id="19" creationId="{AC77A014-3CCC-488D-0DDE-6FA30BC3748A}"/>
          </ac:cxnSpMkLst>
        </pc:cxnChg>
        <pc:cxnChg chg="add mod">
          <ac:chgData name="Ivan Gentile" userId="1703ff82-4a3d-4a0b-8903-a45633531d13" providerId="ADAL" clId="{90DEBC95-03C5-43DB-96F2-9695165DC4C3}" dt="2024-03-04T15:10:37.097" v="2462"/>
          <ac:cxnSpMkLst>
            <pc:docMk/>
            <pc:sldMk cId="2503671340" sldId="314"/>
            <ac:cxnSpMk id="22" creationId="{6A18902A-80C3-19C8-BAF5-6194C6475AA7}"/>
          </ac:cxnSpMkLst>
        </pc:cxnChg>
        <pc:cxnChg chg="add mod">
          <ac:chgData name="Ivan Gentile" userId="1703ff82-4a3d-4a0b-8903-a45633531d13" providerId="ADAL" clId="{90DEBC95-03C5-43DB-96F2-9695165DC4C3}" dt="2024-03-04T15:10:39.900" v="2465"/>
          <ac:cxnSpMkLst>
            <pc:docMk/>
            <pc:sldMk cId="2503671340" sldId="314"/>
            <ac:cxnSpMk id="26" creationId="{D1BCF18A-1150-F16D-F662-43B134CA5400}"/>
          </ac:cxnSpMkLst>
        </pc:cxnChg>
        <pc:cxnChg chg="add mod">
          <ac:chgData name="Ivan Gentile" userId="1703ff82-4a3d-4a0b-8903-a45633531d13" providerId="ADAL" clId="{90DEBC95-03C5-43DB-96F2-9695165DC4C3}" dt="2024-03-04T15:11:32.827" v="2490"/>
          <ac:cxnSpMkLst>
            <pc:docMk/>
            <pc:sldMk cId="2503671340" sldId="314"/>
            <ac:cxnSpMk id="29" creationId="{E870C7E2-AFC9-93DF-F18F-FE5BAC65F221}"/>
          </ac:cxnSpMkLst>
        </pc:cxnChg>
        <pc:cxnChg chg="add mod">
          <ac:chgData name="Ivan Gentile" userId="1703ff82-4a3d-4a0b-8903-a45633531d13" providerId="ADAL" clId="{90DEBC95-03C5-43DB-96F2-9695165DC4C3}" dt="2024-03-04T15:11:32.433" v="2489"/>
          <ac:cxnSpMkLst>
            <pc:docMk/>
            <pc:sldMk cId="2503671340" sldId="314"/>
            <ac:cxnSpMk id="32" creationId="{B57D08F4-2CD3-0253-1474-82E447634C75}"/>
          </ac:cxnSpMkLst>
        </pc:cxnChg>
        <pc:cxnChg chg="add mod">
          <ac:chgData name="Ivan Gentile" userId="1703ff82-4a3d-4a0b-8903-a45633531d13" providerId="ADAL" clId="{90DEBC95-03C5-43DB-96F2-9695165DC4C3}" dt="2024-03-04T15:11:33.220" v="2491"/>
          <ac:cxnSpMkLst>
            <pc:docMk/>
            <pc:sldMk cId="2503671340" sldId="314"/>
            <ac:cxnSpMk id="35" creationId="{C7D35290-EFAA-5302-1617-4DC090B94832}"/>
          </ac:cxnSpMkLst>
        </pc:cxnChg>
        <pc:cxnChg chg="add mod">
          <ac:chgData name="Ivan Gentile" userId="1703ff82-4a3d-4a0b-8903-a45633531d13" providerId="ADAL" clId="{90DEBC95-03C5-43DB-96F2-9695165DC4C3}" dt="2024-03-04T15:11:33.500" v="2492"/>
          <ac:cxnSpMkLst>
            <pc:docMk/>
            <pc:sldMk cId="2503671340" sldId="314"/>
            <ac:cxnSpMk id="38" creationId="{E5F8A446-44C7-2A8D-60AD-C4372D684530}"/>
          </ac:cxnSpMkLst>
        </pc:cxnChg>
      </pc:sldChg>
      <pc:sldChg chg="add del">
        <pc:chgData name="Ivan Gentile" userId="1703ff82-4a3d-4a0b-8903-a45633531d13" providerId="ADAL" clId="{90DEBC95-03C5-43DB-96F2-9695165DC4C3}" dt="2024-03-04T14:36:58.676" v="801" actId="47"/>
        <pc:sldMkLst>
          <pc:docMk/>
          <pc:sldMk cId="3290827080" sldId="315"/>
        </pc:sldMkLst>
      </pc:sldChg>
      <pc:sldChg chg="addSp modSp mod ord">
        <pc:chgData name="Ivan Gentile" userId="1703ff82-4a3d-4a0b-8903-a45633531d13" providerId="ADAL" clId="{90DEBC95-03C5-43DB-96F2-9695165DC4C3}" dt="2024-03-04T14:35:47.485" v="741" actId="1076"/>
        <pc:sldMkLst>
          <pc:docMk/>
          <pc:sldMk cId="958987845" sldId="2147473138"/>
        </pc:sldMkLst>
        <pc:spChg chg="add mod">
          <ac:chgData name="Ivan Gentile" userId="1703ff82-4a3d-4a0b-8903-a45633531d13" providerId="ADAL" clId="{90DEBC95-03C5-43DB-96F2-9695165DC4C3}" dt="2024-03-04T14:16:54.920" v="599" actId="1076"/>
          <ac:spMkLst>
            <pc:docMk/>
            <pc:sldMk cId="958987845" sldId="2147473138"/>
            <ac:spMk id="3" creationId="{70C4616E-A5F8-C557-CCAE-19F194010D8D}"/>
          </ac:spMkLst>
        </pc:spChg>
        <pc:spChg chg="add mod">
          <ac:chgData name="Ivan Gentile" userId="1703ff82-4a3d-4a0b-8903-a45633531d13" providerId="ADAL" clId="{90DEBC95-03C5-43DB-96F2-9695165DC4C3}" dt="2024-03-04T14:16:49.201" v="579" actId="1076"/>
          <ac:spMkLst>
            <pc:docMk/>
            <pc:sldMk cId="958987845" sldId="2147473138"/>
            <ac:spMk id="4" creationId="{E8970A5C-57FC-E840-3A70-9C7EE18183ED}"/>
          </ac:spMkLst>
        </pc:spChg>
        <pc:spChg chg="add mod">
          <ac:chgData name="Ivan Gentile" userId="1703ff82-4a3d-4a0b-8903-a45633531d13" providerId="ADAL" clId="{90DEBC95-03C5-43DB-96F2-9695165DC4C3}" dt="2024-03-04T14:16:49.201" v="579" actId="1076"/>
          <ac:spMkLst>
            <pc:docMk/>
            <pc:sldMk cId="958987845" sldId="2147473138"/>
            <ac:spMk id="5" creationId="{D214D884-B768-6DA6-9D73-5E7908C532BC}"/>
          </ac:spMkLst>
        </pc:spChg>
        <pc:spChg chg="mod">
          <ac:chgData name="Ivan Gentile" userId="1703ff82-4a3d-4a0b-8903-a45633531d13" providerId="ADAL" clId="{90DEBC95-03C5-43DB-96F2-9695165DC4C3}" dt="2024-03-04T14:08:53.548" v="366" actId="20577"/>
          <ac:spMkLst>
            <pc:docMk/>
            <pc:sldMk cId="958987845" sldId="2147473138"/>
            <ac:spMk id="6" creationId="{B8EBB39C-3725-403A-A5A7-E62CAA851624}"/>
          </ac:spMkLst>
        </pc:spChg>
        <pc:spChg chg="add mod">
          <ac:chgData name="Ivan Gentile" userId="1703ff82-4a3d-4a0b-8903-a45633531d13" providerId="ADAL" clId="{90DEBC95-03C5-43DB-96F2-9695165DC4C3}" dt="2024-03-04T14:16:49.201" v="579" actId="1076"/>
          <ac:spMkLst>
            <pc:docMk/>
            <pc:sldMk cId="958987845" sldId="2147473138"/>
            <ac:spMk id="7" creationId="{9417C13A-B99C-FE58-0576-F419C99C4806}"/>
          </ac:spMkLst>
        </pc:spChg>
        <pc:spChg chg="mod">
          <ac:chgData name="Ivan Gentile" userId="1703ff82-4a3d-4a0b-8903-a45633531d13" providerId="ADAL" clId="{90DEBC95-03C5-43DB-96F2-9695165DC4C3}" dt="2024-03-04T14:11:57.850" v="417"/>
          <ac:spMkLst>
            <pc:docMk/>
            <pc:sldMk cId="958987845" sldId="2147473138"/>
            <ac:spMk id="8" creationId="{E2ACF0E0-A755-448B-BA52-523164AB194F}"/>
          </ac:spMkLst>
        </pc:spChg>
        <pc:spChg chg="mod">
          <ac:chgData name="Ivan Gentile" userId="1703ff82-4a3d-4a0b-8903-a45633531d13" providerId="ADAL" clId="{90DEBC95-03C5-43DB-96F2-9695165DC4C3}" dt="2024-03-04T14:35:05.463" v="728" actId="164"/>
          <ac:spMkLst>
            <pc:docMk/>
            <pc:sldMk cId="958987845" sldId="2147473138"/>
            <ac:spMk id="9" creationId="{A2DD9A93-D84A-494E-BF4E-F9EDAFBA37ED}"/>
          </ac:spMkLst>
        </pc:spChg>
        <pc:spChg chg="mod">
          <ac:chgData name="Ivan Gentile" userId="1703ff82-4a3d-4a0b-8903-a45633531d13" providerId="ADAL" clId="{90DEBC95-03C5-43DB-96F2-9695165DC4C3}" dt="2024-03-04T14:35:47.485" v="741" actId="1076"/>
          <ac:spMkLst>
            <pc:docMk/>
            <pc:sldMk cId="958987845" sldId="2147473138"/>
            <ac:spMk id="11" creationId="{D54B81B5-9692-46FF-B313-81BB48352062}"/>
          </ac:spMkLst>
        </pc:spChg>
        <pc:spChg chg="mod">
          <ac:chgData name="Ivan Gentile" userId="1703ff82-4a3d-4a0b-8903-a45633531d13" providerId="ADAL" clId="{90DEBC95-03C5-43DB-96F2-9695165DC4C3}" dt="2024-03-04T14:12:06.701" v="419"/>
          <ac:spMkLst>
            <pc:docMk/>
            <pc:sldMk cId="958987845" sldId="2147473138"/>
            <ac:spMk id="12" creationId="{36F80942-E249-4AC1-BA70-71FB0920EE67}"/>
          </ac:spMkLst>
        </pc:spChg>
        <pc:spChg chg="mod">
          <ac:chgData name="Ivan Gentile" userId="1703ff82-4a3d-4a0b-8903-a45633531d13" providerId="ADAL" clId="{90DEBC95-03C5-43DB-96F2-9695165DC4C3}" dt="2024-03-04T14:35:32.243" v="731" actId="164"/>
          <ac:spMkLst>
            <pc:docMk/>
            <pc:sldMk cId="958987845" sldId="2147473138"/>
            <ac:spMk id="14" creationId="{E66047B9-110C-40CD-8E79-B976D9FFB2BC}"/>
          </ac:spMkLst>
        </pc:spChg>
        <pc:spChg chg="mod">
          <ac:chgData name="Ivan Gentile" userId="1703ff82-4a3d-4a0b-8903-a45633531d13" providerId="ADAL" clId="{90DEBC95-03C5-43DB-96F2-9695165DC4C3}" dt="2024-03-04T14:35:05.463" v="728" actId="164"/>
          <ac:spMkLst>
            <pc:docMk/>
            <pc:sldMk cId="958987845" sldId="2147473138"/>
            <ac:spMk id="15" creationId="{54EE7AFB-D0AB-48BE-A032-35797DBAFDE1}"/>
          </ac:spMkLst>
        </pc:spChg>
        <pc:spChg chg="mod">
          <ac:chgData name="Ivan Gentile" userId="1703ff82-4a3d-4a0b-8903-a45633531d13" providerId="ADAL" clId="{90DEBC95-03C5-43DB-96F2-9695165DC4C3}" dt="2024-03-04T14:13:55.945" v="451" actId="20577"/>
          <ac:spMkLst>
            <pc:docMk/>
            <pc:sldMk cId="958987845" sldId="2147473138"/>
            <ac:spMk id="17" creationId="{7993B009-592A-40CB-AEDE-36089E6FCADC}"/>
          </ac:spMkLst>
        </pc:spChg>
        <pc:grpChg chg="add mod">
          <ac:chgData name="Ivan Gentile" userId="1703ff82-4a3d-4a0b-8903-a45633531d13" providerId="ADAL" clId="{90DEBC95-03C5-43DB-96F2-9695165DC4C3}" dt="2024-03-04T14:35:45.732" v="740" actId="1076"/>
          <ac:grpSpMkLst>
            <pc:docMk/>
            <pc:sldMk cId="958987845" sldId="2147473138"/>
            <ac:grpSpMk id="3" creationId="{7061C010-DB2B-4B15-FB5A-38FFD52582C8}"/>
          </ac:grpSpMkLst>
        </pc:grpChg>
        <pc:grpChg chg="add mod">
          <ac:chgData name="Ivan Gentile" userId="1703ff82-4a3d-4a0b-8903-a45633531d13" providerId="ADAL" clId="{90DEBC95-03C5-43DB-96F2-9695165DC4C3}" dt="2024-03-04T14:35:44.464" v="738" actId="1076"/>
          <ac:grpSpMkLst>
            <pc:docMk/>
            <pc:sldMk cId="958987845" sldId="2147473138"/>
            <ac:grpSpMk id="4" creationId="{ECAED4B7-F742-83DC-0DDC-0425DCD49BE4}"/>
          </ac:grpSpMkLst>
        </pc:grpChg>
      </pc:sldChg>
      <pc:sldChg chg="modSp add del mod">
        <pc:chgData name="Ivan Gentile" userId="1703ff82-4a3d-4a0b-8903-a45633531d13" providerId="ADAL" clId="{90DEBC95-03C5-43DB-96F2-9695165DC4C3}" dt="2024-03-04T14:36:03.215" v="743" actId="47"/>
        <pc:sldMkLst>
          <pc:docMk/>
          <pc:sldMk cId="3882970458" sldId="2147473139"/>
        </pc:sldMkLst>
        <pc:spChg chg="mod">
          <ac:chgData name="Ivan Gentile" userId="1703ff82-4a3d-4a0b-8903-a45633531d13" providerId="ADAL" clId="{90DEBC95-03C5-43DB-96F2-9695165DC4C3}" dt="2024-03-04T14:30:39.873" v="724" actId="14100"/>
          <ac:spMkLst>
            <pc:docMk/>
            <pc:sldMk cId="3882970458" sldId="2147473139"/>
            <ac:spMk id="17" creationId="{4801C2F9-FDF3-B98E-3A25-5D87DCB96857}"/>
          </ac:spMkLst>
        </pc:spChg>
      </pc:sldChg>
      <pc:sldChg chg="modSp add mod">
        <pc:chgData name="Ivan Gentile" userId="1703ff82-4a3d-4a0b-8903-a45633531d13" providerId="ADAL" clId="{90DEBC95-03C5-43DB-96F2-9695165DC4C3}" dt="2024-03-04T14:53:45.759" v="1787" actId="115"/>
        <pc:sldMkLst>
          <pc:docMk/>
          <pc:sldMk cId="3280827461" sldId="2147473140"/>
        </pc:sldMkLst>
        <pc:spChg chg="mod">
          <ac:chgData name="Ivan Gentile" userId="1703ff82-4a3d-4a0b-8903-a45633531d13" providerId="ADAL" clId="{90DEBC95-03C5-43DB-96F2-9695165DC4C3}" dt="2024-03-04T14:53:45.759" v="1787" actId="115"/>
          <ac:spMkLst>
            <pc:docMk/>
            <pc:sldMk cId="3280827461" sldId="2147473140"/>
            <ac:spMk id="15" creationId="{0CD62B16-7F4F-C378-E5BB-70754D27AFFC}"/>
          </ac:spMkLst>
        </pc:spChg>
        <pc:spChg chg="mod">
          <ac:chgData name="Ivan Gentile" userId="1703ff82-4a3d-4a0b-8903-a45633531d13" providerId="ADAL" clId="{90DEBC95-03C5-43DB-96F2-9695165DC4C3}" dt="2024-03-04T14:36:11.849" v="746" actId="14100"/>
          <ac:spMkLst>
            <pc:docMk/>
            <pc:sldMk cId="3280827461" sldId="2147473140"/>
            <ac:spMk id="17" creationId="{B23955F6-EB9A-1C2C-18C5-FC53E811BBC3}"/>
          </ac:spMkLst>
        </pc:spChg>
      </pc:sldChg>
      <pc:sldChg chg="addSp modSp new mod modAnim modNotesTx">
        <pc:chgData name="Ivan Gentile" userId="1703ff82-4a3d-4a0b-8903-a45633531d13" providerId="ADAL" clId="{90DEBC95-03C5-43DB-96F2-9695165DC4C3}" dt="2024-03-04T15:20:15.372" v="2751" actId="20577"/>
        <pc:sldMkLst>
          <pc:docMk/>
          <pc:sldMk cId="3280942069" sldId="2147473141"/>
        </pc:sldMkLst>
        <pc:spChg chg="mod">
          <ac:chgData name="Ivan Gentile" userId="1703ff82-4a3d-4a0b-8903-a45633531d13" providerId="ADAL" clId="{90DEBC95-03C5-43DB-96F2-9695165DC4C3}" dt="2024-03-04T14:50:16.018" v="1469" actId="20577"/>
          <ac:spMkLst>
            <pc:docMk/>
            <pc:sldMk cId="3280942069" sldId="2147473141"/>
            <ac:spMk id="2" creationId="{40C35E1C-2304-B4BB-0BE7-1338EFADA338}"/>
          </ac:spMkLst>
        </pc:spChg>
        <pc:spChg chg="mod">
          <ac:chgData name="Ivan Gentile" userId="1703ff82-4a3d-4a0b-8903-a45633531d13" providerId="ADAL" clId="{90DEBC95-03C5-43DB-96F2-9695165DC4C3}" dt="2024-03-04T15:20:15.372" v="2751" actId="20577"/>
          <ac:spMkLst>
            <pc:docMk/>
            <pc:sldMk cId="3280942069" sldId="2147473141"/>
            <ac:spMk id="3" creationId="{3D94D7A5-C10D-01AB-B1E6-DA4603883B40}"/>
          </ac:spMkLst>
        </pc:spChg>
        <pc:spChg chg="add mod">
          <ac:chgData name="Ivan Gentile" userId="1703ff82-4a3d-4a0b-8903-a45633531d13" providerId="ADAL" clId="{90DEBC95-03C5-43DB-96F2-9695165DC4C3}" dt="2024-03-04T14:56:15.582" v="1802" actId="767"/>
          <ac:spMkLst>
            <pc:docMk/>
            <pc:sldMk cId="3280942069" sldId="2147473141"/>
            <ac:spMk id="5" creationId="{82C76BD6-8522-BC60-7E5E-670DEECC80A3}"/>
          </ac:spMkLst>
        </pc:spChg>
        <pc:spChg chg="add mod">
          <ac:chgData name="Ivan Gentile" userId="1703ff82-4a3d-4a0b-8903-a45633531d13" providerId="ADAL" clId="{90DEBC95-03C5-43DB-96F2-9695165DC4C3}" dt="2024-03-04T14:56:20.981" v="1804" actId="767"/>
          <ac:spMkLst>
            <pc:docMk/>
            <pc:sldMk cId="3280942069" sldId="2147473141"/>
            <ac:spMk id="6" creationId="{90A7DD20-A0C5-FC6B-F45D-0C35CEDB522A}"/>
          </ac:spMkLst>
        </pc:spChg>
        <pc:spChg chg="add mod">
          <ac:chgData name="Ivan Gentile" userId="1703ff82-4a3d-4a0b-8903-a45633531d13" providerId="ADAL" clId="{90DEBC95-03C5-43DB-96F2-9695165DC4C3}" dt="2024-03-04T14:58:18.867" v="1932" actId="1076"/>
          <ac:spMkLst>
            <pc:docMk/>
            <pc:sldMk cId="3280942069" sldId="2147473141"/>
            <ac:spMk id="7" creationId="{75EE0062-63DF-42B1-D87C-103333486388}"/>
          </ac:spMkLst>
        </pc:spChg>
      </pc:sldChg>
      <pc:sldChg chg="addSp delSp modSp add mod">
        <pc:chgData name="Ivan Gentile" userId="1703ff82-4a3d-4a0b-8903-a45633531d13" providerId="ADAL" clId="{90DEBC95-03C5-43DB-96F2-9695165DC4C3}" dt="2024-03-04T15:54:22.251" v="3572" actId="1076"/>
        <pc:sldMkLst>
          <pc:docMk/>
          <pc:sldMk cId="1750509040" sldId="2147473142"/>
        </pc:sldMkLst>
        <pc:spChg chg="mod">
          <ac:chgData name="Ivan Gentile" userId="1703ff82-4a3d-4a0b-8903-a45633531d13" providerId="ADAL" clId="{90DEBC95-03C5-43DB-96F2-9695165DC4C3}" dt="2024-03-04T15:54:13.095" v="3569" actId="14100"/>
          <ac:spMkLst>
            <pc:docMk/>
            <pc:sldMk cId="1750509040" sldId="2147473142"/>
            <ac:spMk id="2" creationId="{9AFABB6C-2D4C-730B-96B3-1CB49DC0FDCB}"/>
          </ac:spMkLst>
        </pc:spChg>
        <pc:spChg chg="del">
          <ac:chgData name="Ivan Gentile" userId="1703ff82-4a3d-4a0b-8903-a45633531d13" providerId="ADAL" clId="{90DEBC95-03C5-43DB-96F2-9695165DC4C3}" dt="2024-03-04T15:53:19.464" v="3481" actId="478"/>
          <ac:spMkLst>
            <pc:docMk/>
            <pc:sldMk cId="1750509040" sldId="2147473142"/>
            <ac:spMk id="3" creationId="{A852E97D-6B2E-012A-C0FF-4167F2513529}"/>
          </ac:spMkLst>
        </pc:spChg>
        <pc:spChg chg="add del mod">
          <ac:chgData name="Ivan Gentile" userId="1703ff82-4a3d-4a0b-8903-a45633531d13" providerId="ADAL" clId="{90DEBC95-03C5-43DB-96F2-9695165DC4C3}" dt="2024-03-04T15:54:16.353" v="3570" actId="478"/>
          <ac:spMkLst>
            <pc:docMk/>
            <pc:sldMk cId="1750509040" sldId="2147473142"/>
            <ac:spMk id="6" creationId="{490779F3-EDC7-9D0E-9FCB-DC824CAC034E}"/>
          </ac:spMkLst>
        </pc:spChg>
        <pc:picChg chg="add mod">
          <ac:chgData name="Ivan Gentile" userId="1703ff82-4a3d-4a0b-8903-a45633531d13" providerId="ADAL" clId="{90DEBC95-03C5-43DB-96F2-9695165DC4C3}" dt="2024-03-04T15:54:22.251" v="3572" actId="1076"/>
          <ac:picMkLst>
            <pc:docMk/>
            <pc:sldMk cId="1750509040" sldId="2147473142"/>
            <ac:picMk id="1026" creationId="{FBAFE6A6-C5DB-1CDF-B72C-767283F28472}"/>
          </ac:picMkLst>
        </pc:picChg>
      </pc:sldChg>
      <pc:sldChg chg="addSp delSp modSp add mod">
        <pc:chgData name="Ivan Gentile" userId="1703ff82-4a3d-4a0b-8903-a45633531d13" providerId="ADAL" clId="{90DEBC95-03C5-43DB-96F2-9695165DC4C3}" dt="2024-03-04T16:05:03.931" v="3657" actId="403"/>
        <pc:sldMkLst>
          <pc:docMk/>
          <pc:sldMk cId="249750453" sldId="2147473143"/>
        </pc:sldMkLst>
        <pc:spChg chg="add del">
          <ac:chgData name="Ivan Gentile" userId="1703ff82-4a3d-4a0b-8903-a45633531d13" providerId="ADAL" clId="{90DEBC95-03C5-43DB-96F2-9695165DC4C3}" dt="2024-03-04T15:56:03.438" v="3585" actId="478"/>
          <ac:spMkLst>
            <pc:docMk/>
            <pc:sldMk cId="249750453" sldId="2147473143"/>
            <ac:spMk id="5" creationId="{58D78359-AC74-0E7A-5DB9-3C2E895562AF}"/>
          </ac:spMkLst>
        </pc:spChg>
        <pc:spChg chg="add mod">
          <ac:chgData name="Ivan Gentile" userId="1703ff82-4a3d-4a0b-8903-a45633531d13" providerId="ADAL" clId="{90DEBC95-03C5-43DB-96F2-9695165DC4C3}" dt="2024-03-04T15:56:09.929" v="3586" actId="207"/>
          <ac:spMkLst>
            <pc:docMk/>
            <pc:sldMk cId="249750453" sldId="2147473143"/>
            <ac:spMk id="6" creationId="{623BC0E4-8D30-0DBB-3D09-70257DCF14B0}"/>
          </ac:spMkLst>
        </pc:spChg>
        <pc:spChg chg="add mod">
          <ac:chgData name="Ivan Gentile" userId="1703ff82-4a3d-4a0b-8903-a45633531d13" providerId="ADAL" clId="{90DEBC95-03C5-43DB-96F2-9695165DC4C3}" dt="2024-03-04T16:05:03.931" v="3657" actId="403"/>
          <ac:spMkLst>
            <pc:docMk/>
            <pc:sldMk cId="249750453" sldId="2147473143"/>
            <ac:spMk id="7" creationId="{A1FCE066-121F-B8FE-6E96-3E8E7D3B731F}"/>
          </ac:spMkLst>
        </pc:spChg>
        <pc:picChg chg="del">
          <ac:chgData name="Ivan Gentile" userId="1703ff82-4a3d-4a0b-8903-a45633531d13" providerId="ADAL" clId="{90DEBC95-03C5-43DB-96F2-9695165DC4C3}" dt="2024-03-04T15:54:35.935" v="3574" actId="478"/>
          <ac:picMkLst>
            <pc:docMk/>
            <pc:sldMk cId="249750453" sldId="2147473143"/>
            <ac:picMk id="1026" creationId="{0E7DFBA8-3266-1C22-C420-BAFC9E49BC6B}"/>
          </ac:picMkLst>
        </pc:picChg>
        <pc:picChg chg="add mod">
          <ac:chgData name="Ivan Gentile" userId="1703ff82-4a3d-4a0b-8903-a45633531d13" providerId="ADAL" clId="{90DEBC95-03C5-43DB-96F2-9695165DC4C3}" dt="2024-03-04T15:54:48.963" v="3581" actId="1076"/>
          <ac:picMkLst>
            <pc:docMk/>
            <pc:sldMk cId="249750453" sldId="2147473143"/>
            <ac:picMk id="2050" creationId="{90D002F8-3F95-B712-13C2-3E3200C15473}"/>
          </ac:picMkLst>
        </pc:picChg>
      </pc:sldChg>
      <pc:sldChg chg="addSp delSp modSp add mod">
        <pc:chgData name="Ivan Gentile" userId="1703ff82-4a3d-4a0b-8903-a45633531d13" providerId="ADAL" clId="{90DEBC95-03C5-43DB-96F2-9695165DC4C3}" dt="2024-03-04T16:14:11.373" v="3761" actId="20577"/>
        <pc:sldMkLst>
          <pc:docMk/>
          <pc:sldMk cId="2555857908" sldId="2147473144"/>
        </pc:sldMkLst>
        <pc:spChg chg="mod">
          <ac:chgData name="Ivan Gentile" userId="1703ff82-4a3d-4a0b-8903-a45633531d13" providerId="ADAL" clId="{90DEBC95-03C5-43DB-96F2-9695165DC4C3}" dt="2024-03-04T16:14:11.373" v="3761" actId="20577"/>
          <ac:spMkLst>
            <pc:docMk/>
            <pc:sldMk cId="2555857908" sldId="2147473144"/>
            <ac:spMk id="2" creationId="{87B16AAC-250C-56C2-6904-2D227B7D0032}"/>
          </ac:spMkLst>
        </pc:spChg>
        <pc:spChg chg="mod">
          <ac:chgData name="Ivan Gentile" userId="1703ff82-4a3d-4a0b-8903-a45633531d13" providerId="ADAL" clId="{90DEBC95-03C5-43DB-96F2-9695165DC4C3}" dt="2024-03-04T16:10:00.431" v="3671" actId="14100"/>
          <ac:spMkLst>
            <pc:docMk/>
            <pc:sldMk cId="2555857908" sldId="2147473144"/>
            <ac:spMk id="6" creationId="{6516CE76-D10C-F19E-6B4B-9E116606AA0B}"/>
          </ac:spMkLst>
        </pc:spChg>
        <pc:spChg chg="del">
          <ac:chgData name="Ivan Gentile" userId="1703ff82-4a3d-4a0b-8903-a45633531d13" providerId="ADAL" clId="{90DEBC95-03C5-43DB-96F2-9695165DC4C3}" dt="2024-03-04T16:04:59.517" v="3656" actId="478"/>
          <ac:spMkLst>
            <pc:docMk/>
            <pc:sldMk cId="2555857908" sldId="2147473144"/>
            <ac:spMk id="7" creationId="{14F4F682-40BF-216F-E3BF-56B2F459861D}"/>
          </ac:spMkLst>
        </pc:spChg>
        <pc:picChg chg="add mod">
          <ac:chgData name="Ivan Gentile" userId="1703ff82-4a3d-4a0b-8903-a45633531d13" providerId="ADAL" clId="{90DEBC95-03C5-43DB-96F2-9695165DC4C3}" dt="2024-03-04T16:09:25.344" v="3667" actId="1076"/>
          <ac:picMkLst>
            <pc:docMk/>
            <pc:sldMk cId="2555857908" sldId="2147473144"/>
            <ac:picMk id="5" creationId="{80A218F3-7BC6-CF44-BA73-B3CF7DF76B26}"/>
          </ac:picMkLst>
        </pc:picChg>
        <pc:picChg chg="del">
          <ac:chgData name="Ivan Gentile" userId="1703ff82-4a3d-4a0b-8903-a45633531d13" providerId="ADAL" clId="{90DEBC95-03C5-43DB-96F2-9695165DC4C3}" dt="2024-03-04T16:04:57.787" v="3655" actId="478"/>
          <ac:picMkLst>
            <pc:docMk/>
            <pc:sldMk cId="2555857908" sldId="2147473144"/>
            <ac:picMk id="2050" creationId="{04042BB4-CD62-F99E-58D8-8A557EEC8C5A}"/>
          </ac:picMkLst>
        </pc:picChg>
        <pc:picChg chg="add mod">
          <ac:chgData name="Ivan Gentile" userId="1703ff82-4a3d-4a0b-8903-a45633531d13" providerId="ADAL" clId="{90DEBC95-03C5-43DB-96F2-9695165DC4C3}" dt="2024-03-04T16:08:55.508" v="3664" actId="1076"/>
          <ac:picMkLst>
            <pc:docMk/>
            <pc:sldMk cId="2555857908" sldId="2147473144"/>
            <ac:picMk id="3074" creationId="{54E611B8-219A-B113-5FB8-A8A182F66555}"/>
          </ac:picMkLst>
        </pc:picChg>
      </pc:sldChg>
      <pc:sldChg chg="add del">
        <pc:chgData name="Ivan Gentile" userId="1703ff82-4a3d-4a0b-8903-a45633531d13" providerId="ADAL" clId="{90DEBC95-03C5-43DB-96F2-9695165DC4C3}" dt="2024-03-04T16:10:36.229" v="3724" actId="47"/>
        <pc:sldMkLst>
          <pc:docMk/>
          <pc:sldMk cId="2351522508" sldId="2147473145"/>
        </pc:sldMkLst>
      </pc:sldChg>
      <pc:sldChg chg="add del">
        <pc:chgData name="Ivan Gentile" userId="1703ff82-4a3d-4a0b-8903-a45633531d13" providerId="ADAL" clId="{90DEBC95-03C5-43DB-96F2-9695165DC4C3}" dt="2024-03-04T16:08:44.595" v="3661" actId="47"/>
        <pc:sldMkLst>
          <pc:docMk/>
          <pc:sldMk cId="2454452504" sldId="214747314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472276-14DC-4480-8AA7-B6B76CBB07FC}" type="datetimeFigureOut">
              <a:rPr lang="it-IT" smtClean="0"/>
              <a:t>19/04/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BC75DB-4419-494C-B410-5E622E74B582}" type="slidenum">
              <a:rPr lang="it-IT" smtClean="0"/>
              <a:t>‹#›</a:t>
            </a:fld>
            <a:endParaRPr lang="it-IT"/>
          </a:p>
        </p:txBody>
      </p:sp>
    </p:spTree>
    <p:extLst>
      <p:ext uri="{BB962C8B-B14F-4D97-AF65-F5344CB8AC3E}">
        <p14:creationId xmlns:p14="http://schemas.microsoft.com/office/powerpoint/2010/main" val="2610172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45C1E77E-FB62-45E8-8DCA-9963902B90D6}" type="slidenum">
              <a:rPr lang="it-IT" smtClean="0"/>
              <a:t>2</a:t>
            </a:fld>
            <a:endParaRPr lang="it-IT"/>
          </a:p>
        </p:txBody>
      </p:sp>
    </p:spTree>
    <p:extLst>
      <p:ext uri="{BB962C8B-B14F-4D97-AF65-F5344CB8AC3E}">
        <p14:creationId xmlns:p14="http://schemas.microsoft.com/office/powerpoint/2010/main" val="29675719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BC75DB-4419-494C-B410-5E622E74B582}" type="slidenum">
              <a:rPr lang="it-IT" smtClean="0"/>
              <a:t>15</a:t>
            </a:fld>
            <a:endParaRPr lang="it-IT"/>
          </a:p>
        </p:txBody>
      </p:sp>
    </p:spTree>
    <p:extLst>
      <p:ext uri="{BB962C8B-B14F-4D97-AF65-F5344CB8AC3E}">
        <p14:creationId xmlns:p14="http://schemas.microsoft.com/office/powerpoint/2010/main" val="1371490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45C1E77E-FB62-45E8-8DCA-9963902B90D6}" type="slidenum">
              <a:rPr lang="it-IT" smtClean="0"/>
              <a:t>3</a:t>
            </a:fld>
            <a:endParaRPr lang="it-IT"/>
          </a:p>
        </p:txBody>
      </p:sp>
    </p:spTree>
    <p:extLst>
      <p:ext uri="{BB962C8B-B14F-4D97-AF65-F5344CB8AC3E}">
        <p14:creationId xmlns:p14="http://schemas.microsoft.com/office/powerpoint/2010/main" val="3159955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entione</a:t>
            </a:r>
            <a:r>
              <a:rPr lang="en-US" dirty="0"/>
              <a:t> the box is a vocabulary distribution</a:t>
            </a:r>
          </a:p>
          <a:p>
            <a:r>
              <a:rPr lang="en-US" dirty="0"/>
              <a:t>What kind of distribution do predicted tokens follow??</a:t>
            </a:r>
          </a:p>
        </p:txBody>
      </p:sp>
      <p:sp>
        <p:nvSpPr>
          <p:cNvPr id="4" name="Slide Number Placeholder 3"/>
          <p:cNvSpPr>
            <a:spLocks noGrp="1"/>
          </p:cNvSpPr>
          <p:nvPr>
            <p:ph type="sldNum" sz="quarter" idx="5"/>
          </p:nvPr>
        </p:nvSpPr>
        <p:spPr/>
        <p:txBody>
          <a:bodyPr/>
          <a:lstStyle/>
          <a:p>
            <a:fld id="{9FBC75DB-4419-494C-B410-5E622E74B582}" type="slidenum">
              <a:rPr lang="it-IT" smtClean="0"/>
              <a:t>4</a:t>
            </a:fld>
            <a:endParaRPr lang="it-IT"/>
          </a:p>
        </p:txBody>
      </p:sp>
    </p:spTree>
    <p:extLst>
      <p:ext uri="{BB962C8B-B14F-4D97-AF65-F5344CB8AC3E}">
        <p14:creationId xmlns:p14="http://schemas.microsoft.com/office/powerpoint/2010/main" val="24925169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need to review Positional encoding </a:t>
            </a:r>
          </a:p>
          <a:p>
            <a:r>
              <a:rPr lang="en-US" dirty="0"/>
              <a:t>Residual connection </a:t>
            </a:r>
          </a:p>
          <a:p>
            <a:r>
              <a:rPr lang="en-US" dirty="0"/>
              <a:t>And specially sampling techniques </a:t>
            </a:r>
          </a:p>
        </p:txBody>
      </p:sp>
      <p:sp>
        <p:nvSpPr>
          <p:cNvPr id="4" name="Slide Number Placeholder 3"/>
          <p:cNvSpPr>
            <a:spLocks noGrp="1"/>
          </p:cNvSpPr>
          <p:nvPr>
            <p:ph type="sldNum" sz="quarter" idx="5"/>
          </p:nvPr>
        </p:nvSpPr>
        <p:spPr/>
        <p:txBody>
          <a:bodyPr/>
          <a:lstStyle/>
          <a:p>
            <a:fld id="{9FBC75DB-4419-494C-B410-5E622E74B582}" type="slidenum">
              <a:rPr lang="it-IT" smtClean="0"/>
              <a:t>5</a:t>
            </a:fld>
            <a:endParaRPr lang="it-IT"/>
          </a:p>
        </p:txBody>
      </p:sp>
    </p:spTree>
    <p:extLst>
      <p:ext uri="{BB962C8B-B14F-4D97-AF65-F5344CB8AC3E}">
        <p14:creationId xmlns:p14="http://schemas.microsoft.com/office/powerpoint/2010/main" val="794359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0" i="0" dirty="0" err="1">
                <a:solidFill>
                  <a:srgbClr val="F5F4EF"/>
                </a:solidFill>
                <a:effectLst/>
                <a:highlight>
                  <a:srgbClr val="2B2A27"/>
                </a:highlight>
                <a:latin typeface="__tiempos_b6f14e"/>
              </a:rPr>
              <a:t>ntroduce</a:t>
            </a:r>
            <a:r>
              <a:rPr lang="en-US" b="0" i="0" dirty="0">
                <a:solidFill>
                  <a:srgbClr val="F5F4EF"/>
                </a:solidFill>
                <a:effectLst/>
                <a:highlight>
                  <a:srgbClr val="2B2A27"/>
                </a:highlight>
                <a:latin typeface="__tiempos_b6f14e"/>
              </a:rPr>
              <a:t> the concept of model evaluation and benchmarking. Explain how models like </a:t>
            </a:r>
            <a:r>
              <a:rPr lang="en-US" b="0" i="0" dirty="0" err="1">
                <a:solidFill>
                  <a:srgbClr val="F5F4EF"/>
                </a:solidFill>
                <a:effectLst/>
                <a:highlight>
                  <a:srgbClr val="2B2A27"/>
                </a:highlight>
                <a:latin typeface="__tiempos_b6f14e"/>
              </a:rPr>
              <a:t>LLaMa</a:t>
            </a:r>
            <a:r>
              <a:rPr lang="en-US" b="0" i="0" dirty="0">
                <a:solidFill>
                  <a:srgbClr val="F5F4EF"/>
                </a:solidFill>
                <a:effectLst/>
                <a:highlight>
                  <a:srgbClr val="2B2A27"/>
                </a:highlight>
                <a:latin typeface="__tiempos_b6f14e"/>
              </a:rPr>
              <a:t> are assessed based on their performance on specific tasks or metrics.</a:t>
            </a:r>
          </a:p>
          <a:p>
            <a:pPr algn="l">
              <a:buFont typeface="+mj-lt"/>
              <a:buAutoNum type="arabicPeriod"/>
            </a:pPr>
            <a:r>
              <a:rPr lang="en-US" b="0" i="0" dirty="0">
                <a:solidFill>
                  <a:srgbClr val="F5F4EF"/>
                </a:solidFill>
                <a:effectLst/>
                <a:highlight>
                  <a:srgbClr val="2B2A27"/>
                </a:highlight>
                <a:latin typeface="__tiempos_b6f14e"/>
              </a:rPr>
              <a:t>Discuss the importance of comparing and contrasting different models to understand their strengths, weaknesses, and suitability for various applications.</a:t>
            </a:r>
          </a:p>
          <a:p>
            <a:endParaRPr lang="en-US" dirty="0"/>
          </a:p>
          <a:p>
            <a:endParaRPr lang="en-US" dirty="0"/>
          </a:p>
        </p:txBody>
      </p:sp>
      <p:sp>
        <p:nvSpPr>
          <p:cNvPr id="4" name="Slide Number Placeholder 3"/>
          <p:cNvSpPr>
            <a:spLocks noGrp="1"/>
          </p:cNvSpPr>
          <p:nvPr>
            <p:ph type="sldNum" sz="quarter" idx="5"/>
          </p:nvPr>
        </p:nvSpPr>
        <p:spPr/>
        <p:txBody>
          <a:bodyPr/>
          <a:lstStyle/>
          <a:p>
            <a:fld id="{9FBC75DB-4419-494C-B410-5E622E74B582}" type="slidenum">
              <a:rPr lang="it-IT" smtClean="0"/>
              <a:t>6</a:t>
            </a:fld>
            <a:endParaRPr lang="it-IT"/>
          </a:p>
        </p:txBody>
      </p:sp>
    </p:spTree>
    <p:extLst>
      <p:ext uri="{BB962C8B-B14F-4D97-AF65-F5344CB8AC3E}">
        <p14:creationId xmlns:p14="http://schemas.microsoft.com/office/powerpoint/2010/main" val="600260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need to read more into the open source </a:t>
            </a:r>
            <a:r>
              <a:rPr lang="en-US" dirty="0" err="1"/>
              <a:t>llms</a:t>
            </a:r>
            <a:endParaRPr lang="en-US" dirty="0"/>
          </a:p>
        </p:txBody>
      </p:sp>
      <p:sp>
        <p:nvSpPr>
          <p:cNvPr id="4" name="Slide Number Placeholder 3"/>
          <p:cNvSpPr>
            <a:spLocks noGrp="1"/>
          </p:cNvSpPr>
          <p:nvPr>
            <p:ph type="sldNum" sz="quarter" idx="5"/>
          </p:nvPr>
        </p:nvSpPr>
        <p:spPr/>
        <p:txBody>
          <a:bodyPr/>
          <a:lstStyle/>
          <a:p>
            <a:fld id="{9FBC75DB-4419-494C-B410-5E622E74B582}" type="slidenum">
              <a:rPr lang="it-IT" smtClean="0"/>
              <a:t>8</a:t>
            </a:fld>
            <a:endParaRPr lang="it-IT"/>
          </a:p>
        </p:txBody>
      </p:sp>
    </p:spTree>
    <p:extLst>
      <p:ext uri="{BB962C8B-B14F-4D97-AF65-F5344CB8AC3E}">
        <p14:creationId xmlns:p14="http://schemas.microsoft.com/office/powerpoint/2010/main" val="2426624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Calibri" panose="020F0502020204030204" pitchFamily="34" charset="0"/>
              </a:rPr>
              <a:t>Size of Models --&gt; 7b, 70B</a:t>
            </a:r>
          </a:p>
          <a:p>
            <a:endParaRPr lang="en-US" dirty="0"/>
          </a:p>
          <a:p>
            <a:endParaRPr lang="en-US" dirty="0"/>
          </a:p>
        </p:txBody>
      </p:sp>
      <p:sp>
        <p:nvSpPr>
          <p:cNvPr id="4" name="Slide Number Placeholder 3"/>
          <p:cNvSpPr>
            <a:spLocks noGrp="1"/>
          </p:cNvSpPr>
          <p:nvPr>
            <p:ph type="sldNum" sz="quarter" idx="5"/>
          </p:nvPr>
        </p:nvSpPr>
        <p:spPr/>
        <p:txBody>
          <a:bodyPr/>
          <a:lstStyle/>
          <a:p>
            <a:fld id="{9FBC75DB-4419-494C-B410-5E622E74B582}" type="slidenum">
              <a:rPr lang="it-IT" smtClean="0"/>
              <a:t>10</a:t>
            </a:fld>
            <a:endParaRPr lang="it-IT"/>
          </a:p>
        </p:txBody>
      </p:sp>
    </p:spTree>
    <p:extLst>
      <p:ext uri="{BB962C8B-B14F-4D97-AF65-F5344CB8AC3E}">
        <p14:creationId xmlns:p14="http://schemas.microsoft.com/office/powerpoint/2010/main" val="4246304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vestigate the case of llama2 –hf </a:t>
            </a:r>
          </a:p>
        </p:txBody>
      </p:sp>
      <p:sp>
        <p:nvSpPr>
          <p:cNvPr id="4" name="Slide Number Placeholder 3"/>
          <p:cNvSpPr>
            <a:spLocks noGrp="1"/>
          </p:cNvSpPr>
          <p:nvPr>
            <p:ph type="sldNum" sz="quarter" idx="5"/>
          </p:nvPr>
        </p:nvSpPr>
        <p:spPr/>
        <p:txBody>
          <a:bodyPr/>
          <a:lstStyle/>
          <a:p>
            <a:fld id="{9FBC75DB-4419-494C-B410-5E622E74B582}" type="slidenum">
              <a:rPr lang="it-IT" smtClean="0"/>
              <a:t>11</a:t>
            </a:fld>
            <a:endParaRPr lang="it-IT"/>
          </a:p>
        </p:txBody>
      </p:sp>
    </p:spTree>
    <p:extLst>
      <p:ext uri="{BB962C8B-B14F-4D97-AF65-F5344CB8AC3E}">
        <p14:creationId xmlns:p14="http://schemas.microsoft.com/office/powerpoint/2010/main" val="4065181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a sold clips to 48 of her friends in April, and then she sold half as many clips in May. How many clips did Natalia sell altogether in April and May?</a:t>
            </a:r>
          </a:p>
        </p:txBody>
      </p:sp>
      <p:sp>
        <p:nvSpPr>
          <p:cNvPr id="4" name="Slide Number Placeholder 3"/>
          <p:cNvSpPr>
            <a:spLocks noGrp="1"/>
          </p:cNvSpPr>
          <p:nvPr>
            <p:ph type="sldNum" sz="quarter" idx="5"/>
          </p:nvPr>
        </p:nvSpPr>
        <p:spPr/>
        <p:txBody>
          <a:bodyPr/>
          <a:lstStyle/>
          <a:p>
            <a:fld id="{9FBC75DB-4419-494C-B410-5E622E74B582}" type="slidenum">
              <a:rPr lang="it-IT" smtClean="0"/>
              <a:t>13</a:t>
            </a:fld>
            <a:endParaRPr lang="it-IT"/>
          </a:p>
        </p:txBody>
      </p:sp>
    </p:spTree>
    <p:extLst>
      <p:ext uri="{BB962C8B-B14F-4D97-AF65-F5344CB8AC3E}">
        <p14:creationId xmlns:p14="http://schemas.microsoft.com/office/powerpoint/2010/main" val="12167762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9" name="Immagine 4">
            <a:extLst>
              <a:ext uri="{FF2B5EF4-FFF2-40B4-BE49-F238E27FC236}">
                <a16:creationId xmlns:a16="http://schemas.microsoft.com/office/drawing/2014/main" id="{EE4B7102-40BD-4A22-66B6-4BC90FFE67F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40741"/>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443058" y="2062264"/>
            <a:ext cx="7120646" cy="1857984"/>
          </a:xfrm>
        </p:spPr>
        <p:txBody>
          <a:bodyPr anchor="b">
            <a:normAutofit/>
          </a:bodyPr>
          <a:lstStyle>
            <a:lvl1pPr algn="l">
              <a:defRPr sz="4000" spc="-100" baseline="0">
                <a:solidFill>
                  <a:srgbClr val="FFFFFF"/>
                </a:solidFill>
              </a:defRPr>
            </a:lvl1pPr>
          </a:lstStyle>
          <a:p>
            <a:r>
              <a:rPr lang="it-IT" dirty="0"/>
              <a:t>Fare clic per modificare lo stile del titolo dello schema</a:t>
            </a:r>
            <a:endParaRPr lang="en-US" dirty="0"/>
          </a:p>
        </p:txBody>
      </p:sp>
      <p:sp>
        <p:nvSpPr>
          <p:cNvPr id="3" name="Subtitle 2"/>
          <p:cNvSpPr>
            <a:spLocks noGrp="1"/>
          </p:cNvSpPr>
          <p:nvPr>
            <p:ph type="subTitle" idx="1"/>
          </p:nvPr>
        </p:nvSpPr>
        <p:spPr>
          <a:xfrm>
            <a:off x="4443058" y="5185812"/>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it-IT" dirty="0"/>
              <a:t>Fare clic per modificare lo stile del sottotitolo dello schema</a:t>
            </a:r>
            <a:endParaRPr lang="en-US" dirty="0"/>
          </a:p>
        </p:txBody>
      </p:sp>
      <p:pic>
        <p:nvPicPr>
          <p:cNvPr id="10" name="Immagine 6" descr="Immagine che contiene testo&#10;&#10;Descrizione generata automaticamente">
            <a:extLst>
              <a:ext uri="{FF2B5EF4-FFF2-40B4-BE49-F238E27FC236}">
                <a16:creationId xmlns:a16="http://schemas.microsoft.com/office/drawing/2014/main" id="{67BD6B9F-5D7B-9905-11FE-AFE8B04F896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35063" y="2797175"/>
            <a:ext cx="2679700" cy="126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magine 18">
            <a:extLst>
              <a:ext uri="{FF2B5EF4-FFF2-40B4-BE49-F238E27FC236}">
                <a16:creationId xmlns:a16="http://schemas.microsoft.com/office/drawing/2014/main" id="{CDCA73F4-A687-36E0-FE26-39D06AD22672}"/>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4400550"/>
            <a:ext cx="11907838"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21397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it-IT" dirty="0"/>
              <a:t>Fare clic per modificare lo stile del titolo dello schema</a:t>
            </a:r>
            <a:endParaRPr lang="en-US" dirty="0"/>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lide Number Placeholder 9">
            <a:extLst>
              <a:ext uri="{FF2B5EF4-FFF2-40B4-BE49-F238E27FC236}">
                <a16:creationId xmlns:a16="http://schemas.microsoft.com/office/drawing/2014/main" id="{9AF0B75A-0B30-7B18-6218-9AA9415BDC27}"/>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Tree>
    <p:extLst>
      <p:ext uri="{BB962C8B-B14F-4D97-AF65-F5344CB8AC3E}">
        <p14:creationId xmlns:p14="http://schemas.microsoft.com/office/powerpoint/2010/main" val="1283032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nchor="t"/>
          <a:lstStyle>
            <a:lvl1pPr>
              <a:buClr>
                <a:srgbClr val="00ADCF"/>
              </a:buClr>
              <a:defRPr/>
            </a:lvl1pPr>
            <a:lvl2pPr>
              <a:buClr>
                <a:srgbClr val="00ADCF"/>
              </a:buClr>
              <a:defRPr/>
            </a:lvl2pPr>
            <a:lvl3pPr>
              <a:buClr>
                <a:srgbClr val="00ADCF"/>
              </a:buClr>
              <a:defRPr/>
            </a:lvl3pPr>
            <a:lvl4pPr>
              <a:buClr>
                <a:srgbClr val="00ADCF"/>
              </a:buClr>
              <a:defRPr/>
            </a:lvl4pPr>
            <a:lvl5pPr>
              <a:buClr>
                <a:srgbClr val="00ADCF"/>
              </a:buClr>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4" name="Slide Number Placeholder 9">
            <a:extLst>
              <a:ext uri="{FF2B5EF4-FFF2-40B4-BE49-F238E27FC236}">
                <a16:creationId xmlns:a16="http://schemas.microsoft.com/office/drawing/2014/main" id="{61B8B66F-F6E2-A6A1-C6FD-4CC1C720D94C}"/>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Tree>
    <p:extLst>
      <p:ext uri="{BB962C8B-B14F-4D97-AF65-F5344CB8AC3E}">
        <p14:creationId xmlns:p14="http://schemas.microsoft.com/office/powerpoint/2010/main" val="15756436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lvl1pPr>
              <a:buClr>
                <a:srgbClr val="00ADCF"/>
              </a:buClr>
              <a:defRPr/>
            </a:lvl1pPr>
            <a:lvl2pPr>
              <a:buClr>
                <a:srgbClr val="00ADCF"/>
              </a:buClr>
              <a:defRPr/>
            </a:lvl2pPr>
            <a:lvl3pPr>
              <a:buClr>
                <a:srgbClr val="00ADCF"/>
              </a:buClr>
              <a:defRPr/>
            </a:lvl3pPr>
            <a:lvl4pPr>
              <a:buClr>
                <a:srgbClr val="00ADCF"/>
              </a:buClr>
              <a:defRPr/>
            </a:lvl4pPr>
            <a:lvl5pPr>
              <a:buClr>
                <a:srgbClr val="00ADCF"/>
              </a:buClr>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4" name="Slide Number Placeholder 9">
            <a:extLst>
              <a:ext uri="{FF2B5EF4-FFF2-40B4-BE49-F238E27FC236}">
                <a16:creationId xmlns:a16="http://schemas.microsoft.com/office/drawing/2014/main" id="{0BABFC81-0ADD-8198-41F9-1FF8EAA347AE}"/>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Tree>
    <p:extLst>
      <p:ext uri="{BB962C8B-B14F-4D97-AF65-F5344CB8AC3E}">
        <p14:creationId xmlns:p14="http://schemas.microsoft.com/office/powerpoint/2010/main" val="15814496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reserve="1">
  <p:cSld name="4_Diapositiva titolo">
    <p:bg>
      <p:bgPr>
        <a:solidFill>
          <a:srgbClr val="20284A"/>
        </a:solidFill>
        <a:effectLst/>
      </p:bgPr>
    </p:bg>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3B6A2372-BBC3-BF19-9784-42F0F69A4E74}"/>
              </a:ext>
            </a:extLst>
          </p:cNvPr>
          <p:cNvPicPr>
            <a:picLocks noChangeAspect="1"/>
          </p:cNvPicPr>
          <p:nvPr userDrawn="1"/>
        </p:nvPicPr>
        <p:blipFill>
          <a:blip r:embed="rId2"/>
          <a:stretch>
            <a:fillRect/>
          </a:stretch>
        </p:blipFill>
        <p:spPr>
          <a:xfrm>
            <a:off x="-17416" y="-945440"/>
            <a:ext cx="5199017" cy="621228"/>
          </a:xfrm>
          <a:prstGeom prst="rect">
            <a:avLst/>
          </a:prstGeom>
        </p:spPr>
      </p:pic>
      <p:pic>
        <p:nvPicPr>
          <p:cNvPr id="10" name="Immagine 9" descr="Immagine che contiene Carattere, Elementi grafici, logo, grafica&#10;&#10;Descrizione generata automaticamente">
            <a:extLst>
              <a:ext uri="{FF2B5EF4-FFF2-40B4-BE49-F238E27FC236}">
                <a16:creationId xmlns:a16="http://schemas.microsoft.com/office/drawing/2014/main" id="{26B764A1-F128-7DBF-685F-C9FEA9209102}"/>
              </a:ext>
            </a:extLst>
          </p:cNvPr>
          <p:cNvPicPr>
            <a:picLocks noChangeAspect="1"/>
          </p:cNvPicPr>
          <p:nvPr userDrawn="1"/>
        </p:nvPicPr>
        <p:blipFill>
          <a:blip r:embed="rId3"/>
          <a:stretch>
            <a:fillRect/>
          </a:stretch>
        </p:blipFill>
        <p:spPr>
          <a:xfrm>
            <a:off x="7523903" y="1230379"/>
            <a:ext cx="3343800" cy="668760"/>
          </a:xfrm>
          <a:prstGeom prst="rect">
            <a:avLst/>
          </a:prstGeom>
        </p:spPr>
      </p:pic>
      <p:pic>
        <p:nvPicPr>
          <p:cNvPr id="2" name="Picture 4" descr="A yellow and black logo&#10;&#10;Description automatically generated">
            <a:extLst>
              <a:ext uri="{FF2B5EF4-FFF2-40B4-BE49-F238E27FC236}">
                <a16:creationId xmlns:a16="http://schemas.microsoft.com/office/drawing/2014/main" id="{950474B7-3586-91AE-EE01-2B06B702F670}"/>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340774" y="3729117"/>
            <a:ext cx="6227032" cy="1675668"/>
          </a:xfrm>
          <a:prstGeom prst="rect">
            <a:avLst/>
          </a:prstGeom>
          <a:noFill/>
          <a:extLst>
            <a:ext uri="{909E8E84-426E-40DD-AFC4-6F175D3DCCD1}">
              <a14:hiddenFill xmlns:a14="http://schemas.microsoft.com/office/drawing/2010/main">
                <a:solidFill>
                  <a:srgbClr val="FFFFFF"/>
                </a:solidFill>
              </a14:hiddenFill>
            </a:ext>
          </a:extLst>
        </p:spPr>
      </p:pic>
      <p:sp>
        <p:nvSpPr>
          <p:cNvPr id="3" name="CasellaDiTesto 2">
            <a:extLst>
              <a:ext uri="{FF2B5EF4-FFF2-40B4-BE49-F238E27FC236}">
                <a16:creationId xmlns:a16="http://schemas.microsoft.com/office/drawing/2014/main" id="{1C2011A5-6724-0479-6853-BBBE60547F2C}"/>
              </a:ext>
            </a:extLst>
          </p:cNvPr>
          <p:cNvSpPr txBox="1"/>
          <p:nvPr userDrawn="1"/>
        </p:nvSpPr>
        <p:spPr>
          <a:xfrm>
            <a:off x="5301205" y="-634826"/>
            <a:ext cx="3587777" cy="307777"/>
          </a:xfrm>
          <a:prstGeom prst="rect">
            <a:avLst/>
          </a:prstGeom>
          <a:solidFill>
            <a:schemeClr val="bg1"/>
          </a:solidFill>
        </p:spPr>
        <p:txBody>
          <a:bodyPr wrap="none" rtlCol="0">
            <a:spAutoFit/>
          </a:bodyPr>
          <a:lstStyle/>
          <a:p>
            <a:r>
              <a:rPr lang="it-IT" sz="1400"/>
              <a:t>Web fonts to download and use: </a:t>
            </a:r>
            <a:r>
              <a:rPr lang="it-IT" sz="1400" b="1"/>
              <a:t>POPPINS</a:t>
            </a:r>
          </a:p>
        </p:txBody>
      </p:sp>
    </p:spTree>
    <p:extLst>
      <p:ext uri="{BB962C8B-B14F-4D97-AF65-F5344CB8AC3E}">
        <p14:creationId xmlns:p14="http://schemas.microsoft.com/office/powerpoint/2010/main" val="3091790621"/>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reserve="1">
  <p:cSld name="11_Diapositiva titolo">
    <p:bg>
      <p:bgPr>
        <a:solidFill>
          <a:srgbClr val="20284A"/>
        </a:solidFill>
        <a:effectLst/>
      </p:bgPr>
    </p:bg>
    <p:spTree>
      <p:nvGrpSpPr>
        <p:cNvPr id="1" name=""/>
        <p:cNvGrpSpPr/>
        <p:nvPr/>
      </p:nvGrpSpPr>
      <p:grpSpPr>
        <a:xfrm>
          <a:off x="0" y="0"/>
          <a:ext cx="0" cy="0"/>
          <a:chOff x="0" y="0"/>
          <a:chExt cx="0" cy="0"/>
        </a:xfrm>
      </p:grpSpPr>
      <p:pic>
        <p:nvPicPr>
          <p:cNvPr id="4" name="Immagine 3" descr="Immagine che contiene testo, Elementi grafici, Carattere, grafica&#10;&#10;Descrizione generata automaticamente">
            <a:extLst>
              <a:ext uri="{FF2B5EF4-FFF2-40B4-BE49-F238E27FC236}">
                <a16:creationId xmlns:a16="http://schemas.microsoft.com/office/drawing/2014/main" id="{9EA3CD3C-6C2C-6815-DEE7-F7E86AB92998}"/>
              </a:ext>
            </a:extLst>
          </p:cNvPr>
          <p:cNvPicPr>
            <a:picLocks noChangeAspect="1"/>
          </p:cNvPicPr>
          <p:nvPr userDrawn="1"/>
        </p:nvPicPr>
        <p:blipFill>
          <a:blip r:embed="rId2"/>
          <a:stretch>
            <a:fillRect/>
          </a:stretch>
        </p:blipFill>
        <p:spPr>
          <a:xfrm>
            <a:off x="4246502" y="2156802"/>
            <a:ext cx="3698996" cy="2544396"/>
          </a:xfrm>
          <a:prstGeom prst="rect">
            <a:avLst/>
          </a:prstGeom>
        </p:spPr>
      </p:pic>
      <p:sp>
        <p:nvSpPr>
          <p:cNvPr id="6" name="CasellaDiTesto 5">
            <a:extLst>
              <a:ext uri="{FF2B5EF4-FFF2-40B4-BE49-F238E27FC236}">
                <a16:creationId xmlns:a16="http://schemas.microsoft.com/office/drawing/2014/main" id="{42949CC0-0C6F-AC8A-8C51-C186FE5B7878}"/>
              </a:ext>
            </a:extLst>
          </p:cNvPr>
          <p:cNvSpPr txBox="1"/>
          <p:nvPr userDrawn="1"/>
        </p:nvSpPr>
        <p:spPr>
          <a:xfrm>
            <a:off x="5322391" y="6204031"/>
            <a:ext cx="1547218" cy="307777"/>
          </a:xfrm>
          <a:prstGeom prst="rect">
            <a:avLst/>
          </a:prstGeom>
          <a:noFill/>
        </p:spPr>
        <p:txBody>
          <a:bodyPr wrap="none" rtlCol="0">
            <a:spAutoFit/>
          </a:bodyPr>
          <a:lstStyle/>
          <a:p>
            <a:pPr algn="ctr"/>
            <a:r>
              <a:rPr lang="it-IT" sz="1400" b="0" i="0" err="1">
                <a:solidFill>
                  <a:schemeClr val="bg1"/>
                </a:solidFill>
                <a:latin typeface="Poppins" pitchFamily="2" charset="77"/>
                <a:cs typeface="Poppins" pitchFamily="2" charset="77"/>
              </a:rPr>
              <a:t>www.agilelab.it</a:t>
            </a:r>
            <a:endParaRPr lang="it-IT" sz="1400" b="0" i="0">
              <a:solidFill>
                <a:schemeClr val="bg1"/>
              </a:solidFill>
              <a:latin typeface="Poppins" pitchFamily="2" charset="77"/>
              <a:cs typeface="Poppins" pitchFamily="2" charset="77"/>
            </a:endParaRPr>
          </a:p>
        </p:txBody>
      </p:sp>
      <p:pic>
        <p:nvPicPr>
          <p:cNvPr id="7" name="Immagine 6">
            <a:extLst>
              <a:ext uri="{FF2B5EF4-FFF2-40B4-BE49-F238E27FC236}">
                <a16:creationId xmlns:a16="http://schemas.microsoft.com/office/drawing/2014/main" id="{EC589947-6A10-7087-9009-97403B08C534}"/>
              </a:ext>
            </a:extLst>
          </p:cNvPr>
          <p:cNvPicPr>
            <a:picLocks noChangeAspect="1"/>
          </p:cNvPicPr>
          <p:nvPr userDrawn="1"/>
        </p:nvPicPr>
        <p:blipFill>
          <a:blip r:embed="rId3"/>
          <a:stretch>
            <a:fillRect/>
          </a:stretch>
        </p:blipFill>
        <p:spPr>
          <a:xfrm>
            <a:off x="-17416" y="-945440"/>
            <a:ext cx="5199017" cy="621228"/>
          </a:xfrm>
          <a:prstGeom prst="rect">
            <a:avLst/>
          </a:prstGeom>
        </p:spPr>
      </p:pic>
      <p:sp>
        <p:nvSpPr>
          <p:cNvPr id="8" name="CasellaDiTesto 7">
            <a:extLst>
              <a:ext uri="{FF2B5EF4-FFF2-40B4-BE49-F238E27FC236}">
                <a16:creationId xmlns:a16="http://schemas.microsoft.com/office/drawing/2014/main" id="{F13E8DC6-3CA3-5182-B5F5-02D9FA37BD46}"/>
              </a:ext>
            </a:extLst>
          </p:cNvPr>
          <p:cNvSpPr txBox="1"/>
          <p:nvPr userDrawn="1"/>
        </p:nvSpPr>
        <p:spPr>
          <a:xfrm>
            <a:off x="5301205" y="-634826"/>
            <a:ext cx="3587777" cy="307777"/>
          </a:xfrm>
          <a:prstGeom prst="rect">
            <a:avLst/>
          </a:prstGeom>
          <a:solidFill>
            <a:schemeClr val="bg1"/>
          </a:solidFill>
        </p:spPr>
        <p:txBody>
          <a:bodyPr wrap="none" rtlCol="0">
            <a:spAutoFit/>
          </a:bodyPr>
          <a:lstStyle/>
          <a:p>
            <a:r>
              <a:rPr lang="it-IT" sz="1400"/>
              <a:t>Web fonts to download and use: </a:t>
            </a:r>
            <a:r>
              <a:rPr lang="it-IT" sz="1400" b="1"/>
              <a:t>POPPINS</a:t>
            </a:r>
          </a:p>
        </p:txBody>
      </p:sp>
    </p:spTree>
    <p:extLst>
      <p:ext uri="{BB962C8B-B14F-4D97-AF65-F5344CB8AC3E}">
        <p14:creationId xmlns:p14="http://schemas.microsoft.com/office/powerpoint/2010/main" val="610491928"/>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reserve="1">
  <p:cSld name="6_Diapositiva titolo">
    <p:bg>
      <p:bgPr>
        <a:solidFill>
          <a:srgbClr val="20284A"/>
        </a:solidFill>
        <a:effectLst/>
      </p:bgPr>
    </p:bg>
    <p:spTree>
      <p:nvGrpSpPr>
        <p:cNvPr id="1" name=""/>
        <p:cNvGrpSpPr/>
        <p:nvPr/>
      </p:nvGrpSpPr>
      <p:grpSpPr>
        <a:xfrm>
          <a:off x="0" y="0"/>
          <a:ext cx="0" cy="0"/>
          <a:chOff x="0" y="0"/>
          <a:chExt cx="0" cy="0"/>
        </a:xfrm>
      </p:grpSpPr>
      <p:pic>
        <p:nvPicPr>
          <p:cNvPr id="10" name="Immagine 9" descr="Immagine che contiene Carattere, Elementi grafici, logo, grafica&#10;&#10;Descrizione generata automaticamente">
            <a:extLst>
              <a:ext uri="{FF2B5EF4-FFF2-40B4-BE49-F238E27FC236}">
                <a16:creationId xmlns:a16="http://schemas.microsoft.com/office/drawing/2014/main" id="{26B764A1-F128-7DBF-685F-C9FEA9209102}"/>
              </a:ext>
            </a:extLst>
          </p:cNvPr>
          <p:cNvPicPr>
            <a:picLocks noChangeAspect="1"/>
          </p:cNvPicPr>
          <p:nvPr userDrawn="1"/>
        </p:nvPicPr>
        <p:blipFill>
          <a:blip r:embed="rId2"/>
          <a:stretch>
            <a:fillRect/>
          </a:stretch>
        </p:blipFill>
        <p:spPr>
          <a:xfrm>
            <a:off x="9870589" y="384249"/>
            <a:ext cx="1754285" cy="350857"/>
          </a:xfrm>
          <a:prstGeom prst="rect">
            <a:avLst/>
          </a:prstGeom>
        </p:spPr>
      </p:pic>
      <p:pic>
        <p:nvPicPr>
          <p:cNvPr id="2" name="Immagine 1">
            <a:extLst>
              <a:ext uri="{FF2B5EF4-FFF2-40B4-BE49-F238E27FC236}">
                <a16:creationId xmlns:a16="http://schemas.microsoft.com/office/drawing/2014/main" id="{EA685C63-6F2F-E7CC-D7EA-7583CBA80E7B}"/>
              </a:ext>
            </a:extLst>
          </p:cNvPr>
          <p:cNvPicPr>
            <a:picLocks noChangeAspect="1"/>
          </p:cNvPicPr>
          <p:nvPr userDrawn="1"/>
        </p:nvPicPr>
        <p:blipFill>
          <a:blip r:embed="rId3"/>
          <a:stretch>
            <a:fillRect/>
          </a:stretch>
        </p:blipFill>
        <p:spPr>
          <a:xfrm>
            <a:off x="-17416" y="-945440"/>
            <a:ext cx="5199017" cy="621228"/>
          </a:xfrm>
          <a:prstGeom prst="rect">
            <a:avLst/>
          </a:prstGeom>
        </p:spPr>
      </p:pic>
      <p:sp>
        <p:nvSpPr>
          <p:cNvPr id="3" name="CasellaDiTesto 2">
            <a:extLst>
              <a:ext uri="{FF2B5EF4-FFF2-40B4-BE49-F238E27FC236}">
                <a16:creationId xmlns:a16="http://schemas.microsoft.com/office/drawing/2014/main" id="{A722564D-809D-9499-4B02-898BDA82EBB3}"/>
              </a:ext>
            </a:extLst>
          </p:cNvPr>
          <p:cNvSpPr txBox="1"/>
          <p:nvPr userDrawn="1"/>
        </p:nvSpPr>
        <p:spPr>
          <a:xfrm>
            <a:off x="5301205" y="-634826"/>
            <a:ext cx="3587777" cy="307777"/>
          </a:xfrm>
          <a:prstGeom prst="rect">
            <a:avLst/>
          </a:prstGeom>
          <a:solidFill>
            <a:schemeClr val="bg1"/>
          </a:solidFill>
        </p:spPr>
        <p:txBody>
          <a:bodyPr wrap="none" rtlCol="0">
            <a:spAutoFit/>
          </a:bodyPr>
          <a:lstStyle/>
          <a:p>
            <a:r>
              <a:rPr lang="it-IT" sz="1400"/>
              <a:t>Web fonts to download and use: </a:t>
            </a:r>
            <a:r>
              <a:rPr lang="it-IT" sz="1400" b="1"/>
              <a:t>POPPINS</a:t>
            </a:r>
          </a:p>
        </p:txBody>
      </p:sp>
    </p:spTree>
    <p:extLst>
      <p:ext uri="{BB962C8B-B14F-4D97-AF65-F5344CB8AC3E}">
        <p14:creationId xmlns:p14="http://schemas.microsoft.com/office/powerpoint/2010/main" val="2123291647"/>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reserve="1">
  <p:cSld name="9_Diapositiva titolo">
    <p:bg>
      <p:bgPr>
        <a:solidFill>
          <a:schemeClr val="bg1"/>
        </a:solidFill>
        <a:effectLst/>
      </p:bgPr>
    </p:bg>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3E29A08-E83D-8CE1-1FEE-C5E9E867C3FE}"/>
              </a:ext>
            </a:extLst>
          </p:cNvPr>
          <p:cNvSpPr/>
          <p:nvPr userDrawn="1"/>
        </p:nvSpPr>
        <p:spPr>
          <a:xfrm>
            <a:off x="396552" y="289583"/>
            <a:ext cx="11398896" cy="6278834"/>
          </a:xfrm>
          <a:prstGeom prst="roundRect">
            <a:avLst>
              <a:gd name="adj" fmla="val 4737"/>
            </a:avLst>
          </a:prstGeom>
          <a:noFill/>
          <a:ln>
            <a:solidFill>
              <a:srgbClr val="BCBCB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Immagine 7">
            <a:extLst>
              <a:ext uri="{FF2B5EF4-FFF2-40B4-BE49-F238E27FC236}">
                <a16:creationId xmlns:a16="http://schemas.microsoft.com/office/drawing/2014/main" id="{2E9BCA7B-C996-7ECD-123B-C15003EE799A}"/>
              </a:ext>
            </a:extLst>
          </p:cNvPr>
          <p:cNvPicPr>
            <a:picLocks noChangeAspect="1"/>
          </p:cNvPicPr>
          <p:nvPr userDrawn="1"/>
        </p:nvPicPr>
        <p:blipFill rotWithShape="1">
          <a:blip r:embed="rId2"/>
          <a:srcRect l="16074"/>
          <a:stretch/>
        </p:blipFill>
        <p:spPr>
          <a:xfrm>
            <a:off x="195745" y="4245922"/>
            <a:ext cx="406625" cy="1105010"/>
          </a:xfrm>
          <a:prstGeom prst="rect">
            <a:avLst/>
          </a:prstGeom>
        </p:spPr>
      </p:pic>
      <p:pic>
        <p:nvPicPr>
          <p:cNvPr id="9" name="Immagine 8">
            <a:extLst>
              <a:ext uri="{FF2B5EF4-FFF2-40B4-BE49-F238E27FC236}">
                <a16:creationId xmlns:a16="http://schemas.microsoft.com/office/drawing/2014/main" id="{1C0D5FCA-A6D1-5C5F-C82B-4A604C4D1170}"/>
              </a:ext>
            </a:extLst>
          </p:cNvPr>
          <p:cNvPicPr>
            <a:picLocks noChangeAspect="1"/>
          </p:cNvPicPr>
          <p:nvPr userDrawn="1"/>
        </p:nvPicPr>
        <p:blipFill>
          <a:blip r:embed="rId3"/>
          <a:stretch>
            <a:fillRect/>
          </a:stretch>
        </p:blipFill>
        <p:spPr>
          <a:xfrm>
            <a:off x="9872435" y="171948"/>
            <a:ext cx="982206" cy="551414"/>
          </a:xfrm>
          <a:prstGeom prst="rect">
            <a:avLst/>
          </a:prstGeom>
        </p:spPr>
      </p:pic>
      <p:pic>
        <p:nvPicPr>
          <p:cNvPr id="3" name="Immagine 2">
            <a:extLst>
              <a:ext uri="{FF2B5EF4-FFF2-40B4-BE49-F238E27FC236}">
                <a16:creationId xmlns:a16="http://schemas.microsoft.com/office/drawing/2014/main" id="{37EA0622-9CDB-65F7-DEE2-B2B78BADCCB8}"/>
              </a:ext>
            </a:extLst>
          </p:cNvPr>
          <p:cNvPicPr>
            <a:picLocks noChangeAspect="1"/>
          </p:cNvPicPr>
          <p:nvPr userDrawn="1"/>
        </p:nvPicPr>
        <p:blipFill>
          <a:blip r:embed="rId4"/>
          <a:stretch>
            <a:fillRect/>
          </a:stretch>
        </p:blipFill>
        <p:spPr>
          <a:xfrm>
            <a:off x="-17416" y="-945440"/>
            <a:ext cx="5199017" cy="621228"/>
          </a:xfrm>
          <a:prstGeom prst="rect">
            <a:avLst/>
          </a:prstGeom>
        </p:spPr>
      </p:pic>
      <p:sp>
        <p:nvSpPr>
          <p:cNvPr id="4" name="CasellaDiTesto 3">
            <a:extLst>
              <a:ext uri="{FF2B5EF4-FFF2-40B4-BE49-F238E27FC236}">
                <a16:creationId xmlns:a16="http://schemas.microsoft.com/office/drawing/2014/main" id="{84BF3409-B6F6-F695-7DA4-0620669399CE}"/>
              </a:ext>
            </a:extLst>
          </p:cNvPr>
          <p:cNvSpPr txBox="1"/>
          <p:nvPr userDrawn="1"/>
        </p:nvSpPr>
        <p:spPr>
          <a:xfrm>
            <a:off x="5301205" y="-634826"/>
            <a:ext cx="3587777" cy="307777"/>
          </a:xfrm>
          <a:prstGeom prst="rect">
            <a:avLst/>
          </a:prstGeom>
          <a:solidFill>
            <a:schemeClr val="bg1"/>
          </a:solidFill>
        </p:spPr>
        <p:txBody>
          <a:bodyPr wrap="none" rtlCol="0">
            <a:spAutoFit/>
          </a:bodyPr>
          <a:lstStyle/>
          <a:p>
            <a:r>
              <a:rPr lang="it-IT" sz="1400"/>
              <a:t>Web fonts to download and use: </a:t>
            </a:r>
            <a:r>
              <a:rPr lang="it-IT" sz="1400" b="1"/>
              <a:t>POPPINS</a:t>
            </a:r>
          </a:p>
        </p:txBody>
      </p:sp>
    </p:spTree>
    <p:extLst>
      <p:ext uri="{BB962C8B-B14F-4D97-AF65-F5344CB8AC3E}">
        <p14:creationId xmlns:p14="http://schemas.microsoft.com/office/powerpoint/2010/main" val="117609699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reserve="1">
  <p:cSld name="12_Diapositiva titolo">
    <p:bg>
      <p:bgPr>
        <a:solidFill>
          <a:schemeClr val="bg1"/>
        </a:solidFill>
        <a:effectLst/>
      </p:bgPr>
    </p:bg>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3E29A08-E83D-8CE1-1FEE-C5E9E867C3FE}"/>
              </a:ext>
            </a:extLst>
          </p:cNvPr>
          <p:cNvSpPr/>
          <p:nvPr userDrawn="1"/>
        </p:nvSpPr>
        <p:spPr>
          <a:xfrm>
            <a:off x="396552" y="289583"/>
            <a:ext cx="11398896" cy="6278834"/>
          </a:xfrm>
          <a:prstGeom prst="roundRect">
            <a:avLst>
              <a:gd name="adj" fmla="val 4737"/>
            </a:avLst>
          </a:prstGeom>
          <a:noFill/>
          <a:ln>
            <a:solidFill>
              <a:srgbClr val="BCBCB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Immagine 7">
            <a:extLst>
              <a:ext uri="{FF2B5EF4-FFF2-40B4-BE49-F238E27FC236}">
                <a16:creationId xmlns:a16="http://schemas.microsoft.com/office/drawing/2014/main" id="{2E9BCA7B-C996-7ECD-123B-C15003EE799A}"/>
              </a:ext>
            </a:extLst>
          </p:cNvPr>
          <p:cNvPicPr>
            <a:picLocks noChangeAspect="1"/>
          </p:cNvPicPr>
          <p:nvPr userDrawn="1"/>
        </p:nvPicPr>
        <p:blipFill rotWithShape="1">
          <a:blip r:embed="rId2"/>
          <a:srcRect l="16074"/>
          <a:stretch/>
        </p:blipFill>
        <p:spPr>
          <a:xfrm>
            <a:off x="195745" y="4245922"/>
            <a:ext cx="406625" cy="1105010"/>
          </a:xfrm>
          <a:prstGeom prst="rect">
            <a:avLst/>
          </a:prstGeom>
        </p:spPr>
      </p:pic>
      <p:pic>
        <p:nvPicPr>
          <p:cNvPr id="9" name="Immagine 8">
            <a:extLst>
              <a:ext uri="{FF2B5EF4-FFF2-40B4-BE49-F238E27FC236}">
                <a16:creationId xmlns:a16="http://schemas.microsoft.com/office/drawing/2014/main" id="{1C0D5FCA-A6D1-5C5F-C82B-4A604C4D1170}"/>
              </a:ext>
            </a:extLst>
          </p:cNvPr>
          <p:cNvPicPr>
            <a:picLocks noChangeAspect="1"/>
          </p:cNvPicPr>
          <p:nvPr userDrawn="1"/>
        </p:nvPicPr>
        <p:blipFill>
          <a:blip r:embed="rId3"/>
          <a:stretch>
            <a:fillRect/>
          </a:stretch>
        </p:blipFill>
        <p:spPr>
          <a:xfrm>
            <a:off x="9872435" y="171948"/>
            <a:ext cx="982206" cy="551414"/>
          </a:xfrm>
          <a:prstGeom prst="rect">
            <a:avLst/>
          </a:prstGeom>
        </p:spPr>
      </p:pic>
      <p:grpSp>
        <p:nvGrpSpPr>
          <p:cNvPr id="6" name="Gruppo 5">
            <a:extLst>
              <a:ext uri="{FF2B5EF4-FFF2-40B4-BE49-F238E27FC236}">
                <a16:creationId xmlns:a16="http://schemas.microsoft.com/office/drawing/2014/main" id="{E1E2912E-150A-F766-FCA0-7E6B9AD6A5C0}"/>
              </a:ext>
            </a:extLst>
          </p:cNvPr>
          <p:cNvGrpSpPr/>
          <p:nvPr userDrawn="1"/>
        </p:nvGrpSpPr>
        <p:grpSpPr>
          <a:xfrm>
            <a:off x="9282187" y="6235610"/>
            <a:ext cx="2162702" cy="527063"/>
            <a:chOff x="6610909" y="3987064"/>
            <a:chExt cx="2162702" cy="527063"/>
          </a:xfrm>
        </p:grpSpPr>
        <p:sp>
          <p:nvSpPr>
            <p:cNvPr id="4" name="Rettangolo 3">
              <a:extLst>
                <a:ext uri="{FF2B5EF4-FFF2-40B4-BE49-F238E27FC236}">
                  <a16:creationId xmlns:a16="http://schemas.microsoft.com/office/drawing/2014/main" id="{8E3D0242-FAEB-C962-1CC5-0EB830DC1799}"/>
                </a:ext>
              </a:extLst>
            </p:cNvPr>
            <p:cNvSpPr/>
            <p:nvPr userDrawn="1"/>
          </p:nvSpPr>
          <p:spPr>
            <a:xfrm>
              <a:off x="6610909" y="3987064"/>
              <a:ext cx="2162702" cy="5270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Immagine 2" descr="Immagine che contiene Carattere, Elementi grafici, logo, grafica&#10;&#10;Descrizione generata automaticamente">
              <a:extLst>
                <a:ext uri="{FF2B5EF4-FFF2-40B4-BE49-F238E27FC236}">
                  <a16:creationId xmlns:a16="http://schemas.microsoft.com/office/drawing/2014/main" id="{567BBA76-B40C-EB67-987E-5A9F5AABEAA8}"/>
                </a:ext>
              </a:extLst>
            </p:cNvPr>
            <p:cNvPicPr>
              <a:picLocks noChangeAspect="1"/>
            </p:cNvPicPr>
            <p:nvPr userDrawn="1"/>
          </p:nvPicPr>
          <p:blipFill>
            <a:blip r:embed="rId4"/>
            <a:stretch>
              <a:fillRect/>
            </a:stretch>
          </p:blipFill>
          <p:spPr>
            <a:xfrm>
              <a:off x="6816726" y="4070493"/>
              <a:ext cx="1754284" cy="350857"/>
            </a:xfrm>
            <a:prstGeom prst="rect">
              <a:avLst/>
            </a:prstGeom>
          </p:spPr>
        </p:pic>
      </p:grpSp>
      <p:pic>
        <p:nvPicPr>
          <p:cNvPr id="7" name="Immagine 6">
            <a:extLst>
              <a:ext uri="{FF2B5EF4-FFF2-40B4-BE49-F238E27FC236}">
                <a16:creationId xmlns:a16="http://schemas.microsoft.com/office/drawing/2014/main" id="{EDD9147A-4865-68BA-0BBD-8583612A5D15}"/>
              </a:ext>
            </a:extLst>
          </p:cNvPr>
          <p:cNvPicPr>
            <a:picLocks noChangeAspect="1"/>
          </p:cNvPicPr>
          <p:nvPr userDrawn="1"/>
        </p:nvPicPr>
        <p:blipFill>
          <a:blip r:embed="rId5"/>
          <a:stretch>
            <a:fillRect/>
          </a:stretch>
        </p:blipFill>
        <p:spPr>
          <a:xfrm>
            <a:off x="-17416" y="-945440"/>
            <a:ext cx="5199017" cy="621228"/>
          </a:xfrm>
          <a:prstGeom prst="rect">
            <a:avLst/>
          </a:prstGeom>
        </p:spPr>
      </p:pic>
      <p:sp>
        <p:nvSpPr>
          <p:cNvPr id="10" name="CasellaDiTesto 9">
            <a:extLst>
              <a:ext uri="{FF2B5EF4-FFF2-40B4-BE49-F238E27FC236}">
                <a16:creationId xmlns:a16="http://schemas.microsoft.com/office/drawing/2014/main" id="{B89FC414-3B7A-D719-0ECB-0EDAB71DA392}"/>
              </a:ext>
            </a:extLst>
          </p:cNvPr>
          <p:cNvSpPr txBox="1"/>
          <p:nvPr userDrawn="1"/>
        </p:nvSpPr>
        <p:spPr>
          <a:xfrm>
            <a:off x="5301205" y="-634826"/>
            <a:ext cx="3587777" cy="307777"/>
          </a:xfrm>
          <a:prstGeom prst="rect">
            <a:avLst/>
          </a:prstGeom>
          <a:solidFill>
            <a:schemeClr val="bg1"/>
          </a:solidFill>
        </p:spPr>
        <p:txBody>
          <a:bodyPr wrap="none" rtlCol="0">
            <a:spAutoFit/>
          </a:bodyPr>
          <a:lstStyle/>
          <a:p>
            <a:r>
              <a:rPr lang="it-IT" sz="1400"/>
              <a:t>Web fonts to download and use: </a:t>
            </a:r>
            <a:r>
              <a:rPr lang="it-IT" sz="1400" b="1"/>
              <a:t>POPPINS</a:t>
            </a:r>
          </a:p>
        </p:txBody>
      </p:sp>
    </p:spTree>
    <p:extLst>
      <p:ext uri="{BB962C8B-B14F-4D97-AF65-F5344CB8AC3E}">
        <p14:creationId xmlns:p14="http://schemas.microsoft.com/office/powerpoint/2010/main" val="178713604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reserve="1">
  <p:cSld name="5_Diapositiva titolo">
    <p:bg>
      <p:bgPr>
        <a:solidFill>
          <a:srgbClr val="20284A"/>
        </a:solidFill>
        <a:effectLst/>
      </p:bgPr>
    </p:bg>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5698F107-A2A4-45B4-8DB7-AD6DED8B5EE6}"/>
              </a:ext>
            </a:extLst>
          </p:cNvPr>
          <p:cNvPicPr>
            <a:picLocks noChangeAspect="1"/>
          </p:cNvPicPr>
          <p:nvPr userDrawn="1"/>
        </p:nvPicPr>
        <p:blipFill>
          <a:blip r:embed="rId2"/>
          <a:stretch>
            <a:fillRect/>
          </a:stretch>
        </p:blipFill>
        <p:spPr>
          <a:xfrm>
            <a:off x="-17416" y="-945440"/>
            <a:ext cx="5199017" cy="621228"/>
          </a:xfrm>
          <a:prstGeom prst="rect">
            <a:avLst/>
          </a:prstGeom>
        </p:spPr>
      </p:pic>
      <p:sp>
        <p:nvSpPr>
          <p:cNvPr id="4" name="CasellaDiTesto 3">
            <a:extLst>
              <a:ext uri="{FF2B5EF4-FFF2-40B4-BE49-F238E27FC236}">
                <a16:creationId xmlns:a16="http://schemas.microsoft.com/office/drawing/2014/main" id="{9724965D-9A9B-B022-52FA-5196CE7D4AAA}"/>
              </a:ext>
            </a:extLst>
          </p:cNvPr>
          <p:cNvSpPr txBox="1"/>
          <p:nvPr userDrawn="1"/>
        </p:nvSpPr>
        <p:spPr>
          <a:xfrm>
            <a:off x="5301205" y="-634826"/>
            <a:ext cx="3587777" cy="307777"/>
          </a:xfrm>
          <a:prstGeom prst="rect">
            <a:avLst/>
          </a:prstGeom>
          <a:solidFill>
            <a:schemeClr val="bg1"/>
          </a:solidFill>
        </p:spPr>
        <p:txBody>
          <a:bodyPr wrap="none" rtlCol="0">
            <a:spAutoFit/>
          </a:bodyPr>
          <a:lstStyle/>
          <a:p>
            <a:r>
              <a:rPr lang="it-IT" sz="1400"/>
              <a:t>Web fonts to download and use: </a:t>
            </a:r>
            <a:r>
              <a:rPr lang="it-IT" sz="1400" b="1"/>
              <a:t>POPPINS</a:t>
            </a:r>
          </a:p>
        </p:txBody>
      </p:sp>
    </p:spTree>
    <p:extLst>
      <p:ext uri="{BB962C8B-B14F-4D97-AF65-F5344CB8AC3E}">
        <p14:creationId xmlns:p14="http://schemas.microsoft.com/office/powerpoint/2010/main" val="3990815386"/>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reserve="1">
  <p:cSld name="7_Diapositiva titolo">
    <p:bg>
      <p:bgPr>
        <a:solidFill>
          <a:srgbClr val="EC9414"/>
        </a:solidFill>
        <a:effectLst/>
      </p:bgPr>
    </p:bg>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5271750D-88E4-8F5A-769B-A57C5DE1BE32}"/>
              </a:ext>
            </a:extLst>
          </p:cNvPr>
          <p:cNvPicPr>
            <a:picLocks noChangeAspect="1"/>
          </p:cNvPicPr>
          <p:nvPr userDrawn="1"/>
        </p:nvPicPr>
        <p:blipFill>
          <a:blip r:embed="rId2"/>
          <a:stretch>
            <a:fillRect/>
          </a:stretch>
        </p:blipFill>
        <p:spPr>
          <a:xfrm>
            <a:off x="-17416" y="-945440"/>
            <a:ext cx="5199017" cy="621228"/>
          </a:xfrm>
          <a:prstGeom prst="rect">
            <a:avLst/>
          </a:prstGeom>
        </p:spPr>
      </p:pic>
      <p:sp>
        <p:nvSpPr>
          <p:cNvPr id="3" name="CasellaDiTesto 2">
            <a:extLst>
              <a:ext uri="{FF2B5EF4-FFF2-40B4-BE49-F238E27FC236}">
                <a16:creationId xmlns:a16="http://schemas.microsoft.com/office/drawing/2014/main" id="{E3E28FAB-CA0E-1B97-A06D-768D045BBCA2}"/>
              </a:ext>
            </a:extLst>
          </p:cNvPr>
          <p:cNvSpPr txBox="1"/>
          <p:nvPr userDrawn="1"/>
        </p:nvSpPr>
        <p:spPr>
          <a:xfrm>
            <a:off x="5301205" y="-634826"/>
            <a:ext cx="3587777" cy="307777"/>
          </a:xfrm>
          <a:prstGeom prst="rect">
            <a:avLst/>
          </a:prstGeom>
          <a:solidFill>
            <a:schemeClr val="bg1"/>
          </a:solidFill>
        </p:spPr>
        <p:txBody>
          <a:bodyPr wrap="none" rtlCol="0">
            <a:spAutoFit/>
          </a:bodyPr>
          <a:lstStyle/>
          <a:p>
            <a:r>
              <a:rPr lang="it-IT" sz="1400"/>
              <a:t>Web fonts to download and use: </a:t>
            </a:r>
            <a:r>
              <a:rPr lang="it-IT" sz="1400" b="1"/>
              <a:t>POPPINS</a:t>
            </a:r>
          </a:p>
        </p:txBody>
      </p:sp>
    </p:spTree>
    <p:extLst>
      <p:ext uri="{BB962C8B-B14F-4D97-AF65-F5344CB8AC3E}">
        <p14:creationId xmlns:p14="http://schemas.microsoft.com/office/powerpoint/2010/main" val="3713204113"/>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lvl1pPr>
              <a:buClr>
                <a:srgbClr val="00ADCF"/>
              </a:buClr>
              <a:defRPr>
                <a:solidFill>
                  <a:srgbClr val="002060"/>
                </a:solidFill>
              </a:defRPr>
            </a:lvl1pPr>
            <a:lvl2pPr>
              <a:buClr>
                <a:srgbClr val="00ADCF"/>
              </a:buClr>
              <a:defRPr>
                <a:solidFill>
                  <a:srgbClr val="002060"/>
                </a:solidFill>
              </a:defRPr>
            </a:lvl2pPr>
            <a:lvl3pPr>
              <a:buClr>
                <a:srgbClr val="00ADCF"/>
              </a:buClr>
              <a:defRPr>
                <a:solidFill>
                  <a:srgbClr val="002060"/>
                </a:solidFill>
              </a:defRPr>
            </a:lvl3pPr>
            <a:lvl4pPr>
              <a:buClr>
                <a:srgbClr val="00ADCF"/>
              </a:buClr>
              <a:defRPr>
                <a:solidFill>
                  <a:srgbClr val="002060"/>
                </a:solidFill>
              </a:defRPr>
            </a:lvl4pPr>
            <a:lvl5pPr>
              <a:buClr>
                <a:srgbClr val="00ADCF"/>
              </a:buClr>
              <a:defRPr>
                <a:solidFill>
                  <a:srgbClr val="002060"/>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7" name="Slide Number Placeholder 9">
            <a:extLst>
              <a:ext uri="{FF2B5EF4-FFF2-40B4-BE49-F238E27FC236}">
                <a16:creationId xmlns:a16="http://schemas.microsoft.com/office/drawing/2014/main" id="{31DBB239-6EE7-B060-2302-7A123732AB40}"/>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Tree>
    <p:extLst>
      <p:ext uri="{BB962C8B-B14F-4D97-AF65-F5344CB8AC3E}">
        <p14:creationId xmlns:p14="http://schemas.microsoft.com/office/powerpoint/2010/main" val="35095581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804625E-B8CC-C177-F8E5-19422D43DB6A}"/>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D7F621E2-35D1-8DD8-B138-8C3E92CB4B7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4DAED101-EBE6-B1D7-48A9-9299FF2ED825}"/>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5" name="Segnaposto piè di pagina 4">
            <a:extLst>
              <a:ext uri="{FF2B5EF4-FFF2-40B4-BE49-F238E27FC236}">
                <a16:creationId xmlns:a16="http://schemas.microsoft.com/office/drawing/2014/main" id="{0A886418-1E6F-F0B0-B867-D5B66F58E43C}"/>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CB6363E1-9E9E-F0E7-3F49-04E176C4BB37}"/>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40451354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1E5B796-54F8-1C93-3718-C32BD09B429D}"/>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446A177D-EFF9-A511-1239-9DABA857509A}"/>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9550CFD8-CD2A-48ED-CA38-1F7A69CAFD44}"/>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5" name="Segnaposto piè di pagina 4">
            <a:extLst>
              <a:ext uri="{FF2B5EF4-FFF2-40B4-BE49-F238E27FC236}">
                <a16:creationId xmlns:a16="http://schemas.microsoft.com/office/drawing/2014/main" id="{83683066-3940-C6DB-E86E-40C27C812380}"/>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7C36DD0-8AE6-1F4E-03A0-2089DEA3FF00}"/>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36706476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D72583E-EC0A-DA84-20E4-5E3166E1BB82}"/>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320624BF-0E67-5513-F05D-CB2EF4522E5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8507D01A-611D-DC5D-F877-168E33B997B9}"/>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5" name="Segnaposto piè di pagina 4">
            <a:extLst>
              <a:ext uri="{FF2B5EF4-FFF2-40B4-BE49-F238E27FC236}">
                <a16:creationId xmlns:a16="http://schemas.microsoft.com/office/drawing/2014/main" id="{B82402BF-9CA9-D595-6125-B6DC350D46C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FF4CCE21-69C1-DC55-487F-906D71DE2A5F}"/>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31136303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34E7C6E-2747-9914-98AB-A4F7ED96EBAE}"/>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6DC157DE-9048-8D21-3836-5974B82CB787}"/>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BA750CE9-1AA6-4E50-AB1C-09F7B7F33E37}"/>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CFAFBBAA-FA2D-917B-28DE-EC754F0257AC}"/>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6" name="Segnaposto piè di pagina 5">
            <a:extLst>
              <a:ext uri="{FF2B5EF4-FFF2-40B4-BE49-F238E27FC236}">
                <a16:creationId xmlns:a16="http://schemas.microsoft.com/office/drawing/2014/main" id="{0CD8EDC2-5E08-77D7-32C2-A01C6A16FC5A}"/>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1304EB58-1930-215F-1B28-C45A0C5B67FC}"/>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7277659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09AAE5F-D53E-2072-6C7C-A48410A85B28}"/>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645A7957-9E34-CBFB-D323-2244B7818A4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815EA7BB-AC36-26F9-13D8-980DD562AC54}"/>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94DADACE-6C96-2784-E68A-474EFD4572E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B476FB41-48A2-68CA-3658-31F6A6CD0E9B}"/>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7FA8D616-024E-28E6-66B6-46A0ABBB7E73}"/>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8" name="Segnaposto piè di pagina 7">
            <a:extLst>
              <a:ext uri="{FF2B5EF4-FFF2-40B4-BE49-F238E27FC236}">
                <a16:creationId xmlns:a16="http://schemas.microsoft.com/office/drawing/2014/main" id="{1F9DF10A-708F-4BFA-AB9F-9C6159E73D92}"/>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5B903B1D-7AC7-B254-C52B-D19A812D976F}"/>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156538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3AA6283-EDEC-1B7A-C96A-4FAB8E6EF577}"/>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EC9070FD-7ADC-E58E-3255-1C2C1F3506DD}"/>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4" name="Segnaposto piè di pagina 3">
            <a:extLst>
              <a:ext uri="{FF2B5EF4-FFF2-40B4-BE49-F238E27FC236}">
                <a16:creationId xmlns:a16="http://schemas.microsoft.com/office/drawing/2014/main" id="{6402A9CB-5269-0418-F3F9-7884D892F037}"/>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8C2975B4-3081-696B-0E44-8939DA2921DB}"/>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6884126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333B7C4E-1494-727A-0E0D-071C1286CD43}"/>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3" name="Segnaposto piè di pagina 2">
            <a:extLst>
              <a:ext uri="{FF2B5EF4-FFF2-40B4-BE49-F238E27FC236}">
                <a16:creationId xmlns:a16="http://schemas.microsoft.com/office/drawing/2014/main" id="{2BE8EEF5-A4A6-624F-C2EA-CD58E97D1933}"/>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B89F4FC1-CC24-F162-1D28-38AFA4464FC8}"/>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34772474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2372EBF-80D3-4296-487E-16BDB1CF4C08}"/>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CB7EDDE0-89A2-0D22-9883-0046E0F6C1A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9F8BDED7-9DC4-910E-F42F-4BF20F0C35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58FBDE3E-08AC-BCC6-A190-01CD4E9714FB}"/>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6" name="Segnaposto piè di pagina 5">
            <a:extLst>
              <a:ext uri="{FF2B5EF4-FFF2-40B4-BE49-F238E27FC236}">
                <a16:creationId xmlns:a16="http://schemas.microsoft.com/office/drawing/2014/main" id="{63321FC0-5B15-A0ED-9C65-AEDAFEC9CC55}"/>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0B156DA3-1E16-01E1-192D-ADD71E536D39}"/>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13978849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12CFC67-D236-EB39-5FAE-54AE0B1E7B2E}"/>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DF6AF2BA-EB16-933E-C2FD-D9671BD7BF0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p>
        </p:txBody>
      </p:sp>
      <p:sp>
        <p:nvSpPr>
          <p:cNvPr id="4" name="Segnaposto testo 3">
            <a:extLst>
              <a:ext uri="{FF2B5EF4-FFF2-40B4-BE49-F238E27FC236}">
                <a16:creationId xmlns:a16="http://schemas.microsoft.com/office/drawing/2014/main" id="{E5606CC2-797D-BF0F-CC4D-EAA5993E36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5F1F8064-869F-D549-6F0B-FF6651C14BC5}"/>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6" name="Segnaposto piè di pagina 5">
            <a:extLst>
              <a:ext uri="{FF2B5EF4-FFF2-40B4-BE49-F238E27FC236}">
                <a16:creationId xmlns:a16="http://schemas.microsoft.com/office/drawing/2014/main" id="{CE2EAB6C-F231-3598-659A-ECD3885B386C}"/>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8F2449C0-5572-EB42-33B4-85C7814B5FC2}"/>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13629625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F7CFA44-DA61-DF58-214A-6960D0C68057}"/>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1F865B5F-572E-9707-4FED-FFC18E80E04E}"/>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483080A2-0552-2FCC-5960-38B1A6FBE12C}"/>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5" name="Segnaposto piè di pagina 4">
            <a:extLst>
              <a:ext uri="{FF2B5EF4-FFF2-40B4-BE49-F238E27FC236}">
                <a16:creationId xmlns:a16="http://schemas.microsoft.com/office/drawing/2014/main" id="{1F56457A-E8F5-8416-540F-53525A798D1D}"/>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787CD2B-9E28-6E08-5508-897908A2A321}"/>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3374834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rgbClr val="002060"/>
                </a:solidFill>
              </a:defRPr>
            </a:lvl1pPr>
          </a:lstStyle>
          <a:p>
            <a:r>
              <a:rPr lang="it-IT" dirty="0"/>
              <a:t>Fare clic per modificare lo stile del titolo dello schema</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rgbClr val="00206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dirty="0"/>
              <a:t>Fare clic per modificare gli stili del testo dello schema</a:t>
            </a:r>
          </a:p>
        </p:txBody>
      </p:sp>
      <p:sp>
        <p:nvSpPr>
          <p:cNvPr id="7" name="Slide Number Placeholder 9">
            <a:extLst>
              <a:ext uri="{FF2B5EF4-FFF2-40B4-BE49-F238E27FC236}">
                <a16:creationId xmlns:a16="http://schemas.microsoft.com/office/drawing/2014/main" id="{DAAAA2B1-EF23-49D8-37C5-E74B14B953CB}"/>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Tree>
    <p:extLst>
      <p:ext uri="{BB962C8B-B14F-4D97-AF65-F5344CB8AC3E}">
        <p14:creationId xmlns:p14="http://schemas.microsoft.com/office/powerpoint/2010/main" val="18002437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0DBABB3D-AE5B-B5B4-6CEC-1AE8076B3821}"/>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1589DAA6-DC46-CAAE-E17D-DECAA8034B2B}"/>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13F5207F-3F3B-991B-7FCC-87AB630B888E}"/>
              </a:ext>
            </a:extLst>
          </p:cNvPr>
          <p:cNvSpPr>
            <a:spLocks noGrp="1"/>
          </p:cNvSpPr>
          <p:nvPr>
            <p:ph type="dt" sz="half" idx="10"/>
          </p:nvPr>
        </p:nvSpPr>
        <p:spPr/>
        <p:txBody>
          <a:bodyPr/>
          <a:lstStyle/>
          <a:p>
            <a:fld id="{2B2008C1-1E4D-364A-9836-3A53CDB44405}" type="datetimeFigureOut">
              <a:rPr lang="it-IT" smtClean="0"/>
              <a:t>19/04/2024</a:t>
            </a:fld>
            <a:endParaRPr lang="it-IT"/>
          </a:p>
        </p:txBody>
      </p:sp>
      <p:sp>
        <p:nvSpPr>
          <p:cNvPr id="5" name="Segnaposto piè di pagina 4">
            <a:extLst>
              <a:ext uri="{FF2B5EF4-FFF2-40B4-BE49-F238E27FC236}">
                <a16:creationId xmlns:a16="http://schemas.microsoft.com/office/drawing/2014/main" id="{77E8EC67-EE91-CDF2-328A-E9952C53FB1B}"/>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25B42ECF-5798-459B-79B5-9EC87E87C1E5}"/>
              </a:ext>
            </a:extLst>
          </p:cNvPr>
          <p:cNvSpPr>
            <a:spLocks noGrp="1"/>
          </p:cNvSpPr>
          <p:nvPr>
            <p:ph type="sldNum" sz="quarter" idx="12"/>
          </p:nvPr>
        </p:nvSpPr>
        <p:spPr/>
        <p:txBody>
          <a:bodyPr/>
          <a:lstStyle/>
          <a:p>
            <a:fld id="{0755E48C-610A-4246-BA3D-0E3D39A7233A}" type="slidenum">
              <a:rPr lang="it-IT" smtClean="0"/>
              <a:t>‹#›</a:t>
            </a:fld>
            <a:endParaRPr lang="it-IT"/>
          </a:p>
        </p:txBody>
      </p:sp>
    </p:spTree>
    <p:extLst>
      <p:ext uri="{BB962C8B-B14F-4D97-AF65-F5344CB8AC3E}">
        <p14:creationId xmlns:p14="http://schemas.microsoft.com/office/powerpoint/2010/main" val="1200938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
        <p:nvSpPr>
          <p:cNvPr id="142" name="PlaceHolder 2"/>
          <p:cNvSpPr>
            <a:spLocks noGrp="1"/>
          </p:cNvSpPr>
          <p:nvPr>
            <p:ph type="subTitle"/>
          </p:nvPr>
        </p:nvSpPr>
        <p:spPr>
          <a:xfrm>
            <a:off x="609480" y="1604520"/>
            <a:ext cx="10972440" cy="3977280"/>
          </a:xfrm>
          <a:prstGeom prst="rect">
            <a:avLst/>
          </a:prstGeom>
        </p:spPr>
        <p:txBody>
          <a:bodyPr lIns="0" tIns="0" rIns="0" bIns="0" anchor="ctr"/>
          <a:lstStyle/>
          <a:p>
            <a:pPr algn="ctr"/>
            <a:r>
              <a:rPr lang="it-IT" sz="3200" b="0" strike="noStrike" spc="-1">
                <a:latin typeface="Arial"/>
              </a:rPr>
              <a:t>Fare clic per modificare lo stile del sottotitolo dello schema</a:t>
            </a:r>
            <a:endParaRPr lang="en-US" sz="3200" b="0" strike="noStrike" spc="-1">
              <a:latin typeface="Arial"/>
            </a:endParaRPr>
          </a:p>
        </p:txBody>
      </p:sp>
      <p:sp>
        <p:nvSpPr>
          <p:cNvPr id="4" name="PlaceHolder 1">
            <a:extLst>
              <a:ext uri="{FF2B5EF4-FFF2-40B4-BE49-F238E27FC236}">
                <a16:creationId xmlns:a16="http://schemas.microsoft.com/office/drawing/2014/main" id="{E2F15DB3-09C0-44F3-9B00-5787B48E99F9}"/>
              </a:ext>
            </a:extLst>
          </p:cNvPr>
          <p:cNvSpPr>
            <a:spLocks noGrp="1"/>
          </p:cNvSpPr>
          <p:nvPr>
            <p:ph type="title" idx="10"/>
          </p:nvPr>
        </p:nvSpPr>
        <p:spPr>
          <a:xfrm>
            <a:off x="0" y="0"/>
            <a:ext cx="10731240" cy="646545"/>
          </a:xfrm>
          <a:prstGeom prst="rect">
            <a:avLst/>
          </a:prstGeom>
        </p:spPr>
        <p:txBody>
          <a:bodyPr lIns="360000" tIns="0" rIns="0" bIns="0" anchor="ctr"/>
          <a:lstStyle/>
          <a:p>
            <a:r>
              <a:rPr lang="it-IT" sz="1800" b="0" strike="noStrike" spc="-1">
                <a:solidFill>
                  <a:srgbClr val="000000"/>
                </a:solidFill>
                <a:latin typeface="Calibri"/>
              </a:rPr>
              <a:t>Fare clic per modificare lo stile del titolo dello schema</a:t>
            </a:r>
          </a:p>
        </p:txBody>
      </p:sp>
    </p:spTree>
    <p:extLst>
      <p:ext uri="{BB962C8B-B14F-4D97-AF65-F5344CB8AC3E}">
        <p14:creationId xmlns:p14="http://schemas.microsoft.com/office/powerpoint/2010/main" val="4024781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3867912" y="868680"/>
            <a:ext cx="3474720" cy="5120640"/>
          </a:xfrm>
        </p:spPr>
        <p:txBody>
          <a:bodyPr/>
          <a:lstStyle>
            <a:lvl1pPr>
              <a:buClr>
                <a:srgbClr val="00ADCF"/>
              </a:buClr>
              <a:defRPr sz="2000">
                <a:solidFill>
                  <a:srgbClr val="002060"/>
                </a:solidFill>
              </a:defRPr>
            </a:lvl1pPr>
            <a:lvl2pPr>
              <a:buClr>
                <a:srgbClr val="00ADCF"/>
              </a:buClr>
              <a:defRPr sz="1800">
                <a:solidFill>
                  <a:srgbClr val="002060"/>
                </a:solidFill>
              </a:defRPr>
            </a:lvl2pPr>
            <a:lvl3pPr>
              <a:buClr>
                <a:srgbClr val="00ADCF"/>
              </a:buClr>
              <a:defRPr sz="1600">
                <a:solidFill>
                  <a:srgbClr val="002060"/>
                </a:solidFill>
              </a:defRPr>
            </a:lvl3pPr>
            <a:lvl4pPr>
              <a:buClr>
                <a:srgbClr val="00ADCF"/>
              </a:buClr>
              <a:defRPr sz="1400">
                <a:solidFill>
                  <a:srgbClr val="002060"/>
                </a:solidFill>
              </a:defRPr>
            </a:lvl4pPr>
            <a:lvl5pPr>
              <a:buClr>
                <a:srgbClr val="00ADCF"/>
              </a:buClr>
              <a:defRPr sz="1400">
                <a:solidFill>
                  <a:srgbClr val="002060"/>
                </a:solidFill>
              </a:defRPr>
            </a:lvl5pPr>
            <a:lvl6pPr>
              <a:defRPr sz="1400"/>
            </a:lvl6pPr>
            <a:lvl7pPr>
              <a:defRPr sz="1400"/>
            </a:lvl7pPr>
            <a:lvl8pPr>
              <a:defRPr sz="1400"/>
            </a:lvl8pPr>
            <a:lvl9pPr>
              <a:defRPr sz="1400"/>
            </a:lvl9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4" name="Content Placeholder 3"/>
          <p:cNvSpPr>
            <a:spLocks noGrp="1"/>
          </p:cNvSpPr>
          <p:nvPr>
            <p:ph sz="half" idx="2"/>
          </p:nvPr>
        </p:nvSpPr>
        <p:spPr>
          <a:xfrm>
            <a:off x="7818120" y="868680"/>
            <a:ext cx="3474720" cy="5120640"/>
          </a:xfrm>
        </p:spPr>
        <p:txBody>
          <a:bodyPr>
            <a:normAutofit/>
          </a:bodyPr>
          <a:lstStyle>
            <a:lvl1pPr marL="182880" indent="-182880" algn="l" defTabSz="914400" rtl="0" eaLnBrk="1" latinLnBrk="0" hangingPunct="1">
              <a:lnSpc>
                <a:spcPct val="90000"/>
              </a:lnSpc>
              <a:buClr>
                <a:srgbClr val="00ADCF"/>
              </a:buClr>
              <a:buFont typeface="Wingdings 2" pitchFamily="18" charset="2"/>
              <a:buChar char=""/>
              <a:defRPr lang="it-IT" sz="2000" kern="1200" dirty="0" smtClean="0">
                <a:solidFill>
                  <a:srgbClr val="002060"/>
                </a:solidFill>
                <a:latin typeface="Open Sans" panose="020B0606030504020204" pitchFamily="34" charset="0"/>
                <a:ea typeface="Open Sans" panose="020B0606030504020204" pitchFamily="34" charset="0"/>
                <a:cs typeface="Open Sans" panose="020B0606030504020204" pitchFamily="34" charset="0"/>
              </a:defRPr>
            </a:lvl1pPr>
            <a:lvl2pPr marL="685800" indent="-182880" algn="l" defTabSz="914400" rtl="0" eaLnBrk="1" latinLnBrk="0" hangingPunct="1">
              <a:lnSpc>
                <a:spcPct val="90000"/>
              </a:lnSpc>
              <a:buClr>
                <a:srgbClr val="00ADCF"/>
              </a:buClr>
              <a:buFont typeface="Wingdings 2" pitchFamily="18" charset="2"/>
              <a:buChar char=""/>
              <a:defRPr lang="it-IT" sz="2000" kern="1200" dirty="0" smtClean="0">
                <a:solidFill>
                  <a:srgbClr val="002060"/>
                </a:solidFill>
                <a:latin typeface="Open Sans" panose="020B0606030504020204" pitchFamily="34" charset="0"/>
                <a:ea typeface="Open Sans" panose="020B0606030504020204" pitchFamily="34" charset="0"/>
                <a:cs typeface="Open Sans" panose="020B0606030504020204" pitchFamily="34" charset="0"/>
              </a:defRPr>
            </a:lvl2pPr>
            <a:lvl3pPr marL="1143000" indent="-182880" algn="l" defTabSz="914400" rtl="0" eaLnBrk="1" latinLnBrk="0" hangingPunct="1">
              <a:lnSpc>
                <a:spcPct val="90000"/>
              </a:lnSpc>
              <a:buClr>
                <a:srgbClr val="00ADCF"/>
              </a:buClr>
              <a:buFont typeface="Wingdings 2" pitchFamily="18" charset="2"/>
              <a:buChar char=""/>
              <a:defRPr lang="it-IT" sz="2000" kern="1200" dirty="0" smtClean="0">
                <a:solidFill>
                  <a:srgbClr val="002060"/>
                </a:solidFill>
                <a:latin typeface="Open Sans" panose="020B0606030504020204" pitchFamily="34" charset="0"/>
                <a:ea typeface="Open Sans" panose="020B0606030504020204" pitchFamily="34" charset="0"/>
                <a:cs typeface="Open Sans" panose="020B0606030504020204" pitchFamily="34" charset="0"/>
              </a:defRPr>
            </a:lvl3pPr>
            <a:lvl4pPr marL="1600200" indent="-182880" algn="l" defTabSz="914400" rtl="0" eaLnBrk="1" latinLnBrk="0" hangingPunct="1">
              <a:lnSpc>
                <a:spcPct val="90000"/>
              </a:lnSpc>
              <a:buClr>
                <a:srgbClr val="00ADCF"/>
              </a:buClr>
              <a:buFont typeface="Wingdings 2" pitchFamily="18" charset="2"/>
              <a:buChar char=""/>
              <a:defRPr lang="it-IT" sz="2000" kern="1200" dirty="0" smtClean="0">
                <a:solidFill>
                  <a:srgbClr val="002060"/>
                </a:solidFill>
                <a:latin typeface="Open Sans" panose="020B0606030504020204" pitchFamily="34" charset="0"/>
                <a:ea typeface="Open Sans" panose="020B0606030504020204" pitchFamily="34" charset="0"/>
                <a:cs typeface="Open Sans" panose="020B0606030504020204" pitchFamily="34" charset="0"/>
              </a:defRPr>
            </a:lvl4pPr>
            <a:lvl5pPr marL="2057400" indent="-182880" algn="l" defTabSz="914400" rtl="0" eaLnBrk="1" latinLnBrk="0" hangingPunct="1">
              <a:lnSpc>
                <a:spcPct val="90000"/>
              </a:lnSpc>
              <a:buClr>
                <a:srgbClr val="00ADCF"/>
              </a:buClr>
              <a:buFont typeface="Wingdings 2" pitchFamily="18" charset="2"/>
              <a:buChar char=""/>
              <a:defRPr lang="en-US" sz="20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defRPr>
            </a:lvl5pPr>
            <a:lvl6pPr>
              <a:defRPr sz="1400"/>
            </a:lvl6pPr>
            <a:lvl7pPr>
              <a:defRPr sz="1400"/>
            </a:lvl7pPr>
            <a:lvl8pPr>
              <a:defRPr sz="1400"/>
            </a:lvl8pPr>
            <a:lvl9pPr>
              <a:defRPr sz="1400"/>
            </a:lvl9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5" name="Slide Number Placeholder 9">
            <a:extLst>
              <a:ext uri="{FF2B5EF4-FFF2-40B4-BE49-F238E27FC236}">
                <a16:creationId xmlns:a16="http://schemas.microsoft.com/office/drawing/2014/main" id="{AB5B4BBC-85ED-B6B6-4229-7F9876C3ACA5}"/>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Tree>
    <p:extLst>
      <p:ext uri="{BB962C8B-B14F-4D97-AF65-F5344CB8AC3E}">
        <p14:creationId xmlns:p14="http://schemas.microsoft.com/office/powerpoint/2010/main" val="48094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rgbClr val="00AD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4" name="Content Placeholder 3"/>
          <p:cNvSpPr>
            <a:spLocks noGrp="1"/>
          </p:cNvSpPr>
          <p:nvPr>
            <p:ph sz="half" idx="2"/>
          </p:nvPr>
        </p:nvSpPr>
        <p:spPr>
          <a:xfrm>
            <a:off x="3867912" y="1930936"/>
            <a:ext cx="3474720" cy="4023360"/>
          </a:xfrm>
        </p:spPr>
        <p:txBody>
          <a:bodyPr/>
          <a:lstStyle>
            <a:lvl1pPr>
              <a:defRPr sz="2000">
                <a:solidFill>
                  <a:srgbClr val="002060"/>
                </a:solidFill>
              </a:defRPr>
            </a:lvl1pPr>
            <a:lvl2pPr>
              <a:defRPr sz="1800">
                <a:solidFill>
                  <a:srgbClr val="002060"/>
                </a:solidFill>
              </a:defRPr>
            </a:lvl2pPr>
            <a:lvl3pPr>
              <a:defRPr sz="1600">
                <a:solidFill>
                  <a:srgbClr val="002060"/>
                </a:solidFill>
              </a:defRPr>
            </a:lvl3pPr>
            <a:lvl4pPr>
              <a:defRPr sz="1400">
                <a:solidFill>
                  <a:srgbClr val="002060"/>
                </a:solidFill>
              </a:defRPr>
            </a:lvl4pPr>
            <a:lvl5pPr>
              <a:defRPr sz="1400">
                <a:solidFill>
                  <a:srgbClr val="002060"/>
                </a:solidFill>
              </a:defRPr>
            </a:lvl5pPr>
            <a:lvl6pPr>
              <a:defRPr sz="1400"/>
            </a:lvl6pPr>
            <a:lvl7pPr>
              <a:defRPr sz="1400"/>
            </a:lvl7pPr>
            <a:lvl8pPr>
              <a:defRPr sz="1400"/>
            </a:lvl8pPr>
            <a:lvl9pPr>
              <a:defRPr sz="1400"/>
            </a:lvl9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rgbClr val="00AD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a:t>Fare clic per modificare gli stili del testo dello schema</a:t>
            </a:r>
          </a:p>
        </p:txBody>
      </p:sp>
      <p:sp>
        <p:nvSpPr>
          <p:cNvPr id="6" name="Content Placeholder 5"/>
          <p:cNvSpPr>
            <a:spLocks noGrp="1"/>
          </p:cNvSpPr>
          <p:nvPr>
            <p:ph sz="quarter" idx="4"/>
          </p:nvPr>
        </p:nvSpPr>
        <p:spPr>
          <a:xfrm>
            <a:off x="7818463" y="1930936"/>
            <a:ext cx="3474720" cy="4023360"/>
          </a:xfrm>
        </p:spPr>
        <p:txBody>
          <a:bodyPr/>
          <a:lstStyle>
            <a:lvl1pPr>
              <a:defRPr sz="2000">
                <a:solidFill>
                  <a:srgbClr val="002060"/>
                </a:solidFill>
              </a:defRPr>
            </a:lvl1pPr>
            <a:lvl2pPr>
              <a:defRPr sz="1800">
                <a:solidFill>
                  <a:srgbClr val="002060"/>
                </a:solidFill>
              </a:defRPr>
            </a:lvl2pPr>
            <a:lvl3pPr>
              <a:defRPr sz="1600">
                <a:solidFill>
                  <a:srgbClr val="002060"/>
                </a:solidFill>
              </a:defRPr>
            </a:lvl3pPr>
            <a:lvl4pPr>
              <a:defRPr sz="1400">
                <a:solidFill>
                  <a:srgbClr val="002060"/>
                </a:solidFill>
              </a:defRPr>
            </a:lvl4pPr>
            <a:lvl5pPr>
              <a:defRPr sz="1400">
                <a:solidFill>
                  <a:srgbClr val="002060"/>
                </a:solidFill>
              </a:defRPr>
            </a:lvl5pPr>
            <a:lvl6pPr>
              <a:defRPr sz="1400"/>
            </a:lvl6pPr>
            <a:lvl7pPr>
              <a:defRPr sz="1400"/>
            </a:lvl7pPr>
            <a:lvl8pPr>
              <a:defRPr sz="1400"/>
            </a:lvl8pPr>
            <a:lvl9pPr>
              <a:defRPr sz="1400"/>
            </a:lvl9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7" name="Slide Number Placeholder 9">
            <a:extLst>
              <a:ext uri="{FF2B5EF4-FFF2-40B4-BE49-F238E27FC236}">
                <a16:creationId xmlns:a16="http://schemas.microsoft.com/office/drawing/2014/main" id="{DA1E7681-DCD4-F4AD-E03D-2D237CF30262}"/>
              </a:ext>
            </a:extLst>
          </p:cNvPr>
          <p:cNvSpPr>
            <a:spLocks noGrp="1"/>
          </p:cNvSpPr>
          <p:nvPr>
            <p:ph type="sldNum" sz="quarter" idx="10"/>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Tree>
    <p:extLst>
      <p:ext uri="{BB962C8B-B14F-4D97-AF65-F5344CB8AC3E}">
        <p14:creationId xmlns:p14="http://schemas.microsoft.com/office/powerpoint/2010/main" val="2030932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it-IT"/>
              <a:t>Fare clic per modificare lo stile del titolo dello schema</a:t>
            </a:r>
            <a:endParaRPr lang="en-US" dirty="0"/>
          </a:p>
        </p:txBody>
      </p:sp>
      <p:sp>
        <p:nvSpPr>
          <p:cNvPr id="3" name="Slide Number Placeholder 9">
            <a:extLst>
              <a:ext uri="{FF2B5EF4-FFF2-40B4-BE49-F238E27FC236}">
                <a16:creationId xmlns:a16="http://schemas.microsoft.com/office/drawing/2014/main" id="{8240D55F-9300-2CBF-C807-A9FDD67A6F9B}"/>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
        <p:nvSpPr>
          <p:cNvPr id="4" name="Rettangolo 3">
            <a:extLst>
              <a:ext uri="{FF2B5EF4-FFF2-40B4-BE49-F238E27FC236}">
                <a16:creationId xmlns:a16="http://schemas.microsoft.com/office/drawing/2014/main" id="{755D36DA-42EA-60DE-6A23-764D1A5DD039}"/>
              </a:ext>
            </a:extLst>
          </p:cNvPr>
          <p:cNvSpPr/>
          <p:nvPr userDrawn="1"/>
        </p:nvSpPr>
        <p:spPr>
          <a:xfrm>
            <a:off x="1556426" y="1916349"/>
            <a:ext cx="2052536" cy="1512651"/>
          </a:xfrm>
          <a:prstGeom prst="rect">
            <a:avLst/>
          </a:prstGeom>
          <a:ln>
            <a:solidFill>
              <a:srgbClr val="00AD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Rettangolo 4">
            <a:extLst>
              <a:ext uri="{FF2B5EF4-FFF2-40B4-BE49-F238E27FC236}">
                <a16:creationId xmlns:a16="http://schemas.microsoft.com/office/drawing/2014/main" id="{48DE1A27-75AC-702D-92F6-FAF018E44D2C}"/>
              </a:ext>
            </a:extLst>
          </p:cNvPr>
          <p:cNvSpPr/>
          <p:nvPr userDrawn="1"/>
        </p:nvSpPr>
        <p:spPr>
          <a:xfrm>
            <a:off x="3865566" y="1913107"/>
            <a:ext cx="2052536" cy="1512651"/>
          </a:xfrm>
          <a:prstGeom prst="rect">
            <a:avLst/>
          </a:prstGeom>
          <a:solidFill>
            <a:srgbClr val="203865"/>
          </a:solidFill>
          <a:ln>
            <a:solidFill>
              <a:srgbClr val="203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2808F44E-9197-675C-C5E1-9ABA816A9596}"/>
              </a:ext>
            </a:extLst>
          </p:cNvPr>
          <p:cNvSpPr/>
          <p:nvPr userDrawn="1"/>
        </p:nvSpPr>
        <p:spPr>
          <a:xfrm>
            <a:off x="6174706" y="1916349"/>
            <a:ext cx="2052536" cy="1512651"/>
          </a:xfrm>
          <a:prstGeom prst="rect">
            <a:avLst/>
          </a:prstGeom>
          <a:solidFill>
            <a:srgbClr val="8FD2E9"/>
          </a:solidFill>
          <a:ln>
            <a:solidFill>
              <a:srgbClr val="8FD2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FCFC0305-3A10-0237-DB83-E4AF257F0D24}"/>
              </a:ext>
            </a:extLst>
          </p:cNvPr>
          <p:cNvSpPr/>
          <p:nvPr userDrawn="1"/>
        </p:nvSpPr>
        <p:spPr>
          <a:xfrm>
            <a:off x="8483846" y="1913106"/>
            <a:ext cx="2052536" cy="1512651"/>
          </a:xfrm>
          <a:prstGeom prst="rect">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Rettangolo 10">
            <a:extLst>
              <a:ext uri="{FF2B5EF4-FFF2-40B4-BE49-F238E27FC236}">
                <a16:creationId xmlns:a16="http://schemas.microsoft.com/office/drawing/2014/main" id="{3ED26F46-56A2-6AB2-EAED-4F98A7E09DEF}"/>
              </a:ext>
            </a:extLst>
          </p:cNvPr>
          <p:cNvSpPr/>
          <p:nvPr userDrawn="1"/>
        </p:nvSpPr>
        <p:spPr>
          <a:xfrm>
            <a:off x="1556426" y="3621934"/>
            <a:ext cx="2052536" cy="151265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highlight>
                <a:srgbClr val="C0C0C0"/>
              </a:highlight>
            </a:endParaRPr>
          </a:p>
        </p:txBody>
      </p:sp>
      <p:sp>
        <p:nvSpPr>
          <p:cNvPr id="15" name="Rettangolo 14">
            <a:extLst>
              <a:ext uri="{FF2B5EF4-FFF2-40B4-BE49-F238E27FC236}">
                <a16:creationId xmlns:a16="http://schemas.microsoft.com/office/drawing/2014/main" id="{FCD786AA-ED23-B734-C132-002524BA0695}"/>
              </a:ext>
            </a:extLst>
          </p:cNvPr>
          <p:cNvSpPr/>
          <p:nvPr userDrawn="1"/>
        </p:nvSpPr>
        <p:spPr>
          <a:xfrm>
            <a:off x="3865566" y="3621934"/>
            <a:ext cx="2052536" cy="151265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highlight>
                <a:srgbClr val="C0C0C0"/>
              </a:highlight>
            </a:endParaRPr>
          </a:p>
        </p:txBody>
      </p:sp>
      <p:sp>
        <p:nvSpPr>
          <p:cNvPr id="16" name="Rettangolo 15">
            <a:extLst>
              <a:ext uri="{FF2B5EF4-FFF2-40B4-BE49-F238E27FC236}">
                <a16:creationId xmlns:a16="http://schemas.microsoft.com/office/drawing/2014/main" id="{A3597CBB-2ACD-69E3-2147-B57B7482FD29}"/>
              </a:ext>
            </a:extLst>
          </p:cNvPr>
          <p:cNvSpPr/>
          <p:nvPr userDrawn="1"/>
        </p:nvSpPr>
        <p:spPr>
          <a:xfrm>
            <a:off x="6174706" y="3621933"/>
            <a:ext cx="2052536" cy="151265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highlight>
                <a:srgbClr val="C0C0C0"/>
              </a:highlight>
            </a:endParaRPr>
          </a:p>
        </p:txBody>
      </p:sp>
      <p:sp>
        <p:nvSpPr>
          <p:cNvPr id="17" name="Rettangolo 16">
            <a:extLst>
              <a:ext uri="{FF2B5EF4-FFF2-40B4-BE49-F238E27FC236}">
                <a16:creationId xmlns:a16="http://schemas.microsoft.com/office/drawing/2014/main" id="{3A79564F-DC92-8CB9-3A6D-D49AE6520BC1}"/>
              </a:ext>
            </a:extLst>
          </p:cNvPr>
          <p:cNvSpPr/>
          <p:nvPr userDrawn="1"/>
        </p:nvSpPr>
        <p:spPr>
          <a:xfrm>
            <a:off x="8491216" y="3615448"/>
            <a:ext cx="2052536" cy="151265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highlight>
                <a:srgbClr val="C0C0C0"/>
              </a:highlight>
            </a:endParaRPr>
          </a:p>
        </p:txBody>
      </p:sp>
    </p:spTree>
    <p:extLst>
      <p:ext uri="{BB962C8B-B14F-4D97-AF65-F5344CB8AC3E}">
        <p14:creationId xmlns:p14="http://schemas.microsoft.com/office/powerpoint/2010/main" val="29669125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1_Solo titolo">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it-IT"/>
              <a:t>Fare clic per modificare lo stile del titolo dello schema</a:t>
            </a:r>
            <a:endParaRPr lang="en-US" dirty="0"/>
          </a:p>
        </p:txBody>
      </p:sp>
      <p:sp>
        <p:nvSpPr>
          <p:cNvPr id="3" name="Slide Number Placeholder 9">
            <a:extLst>
              <a:ext uri="{FF2B5EF4-FFF2-40B4-BE49-F238E27FC236}">
                <a16:creationId xmlns:a16="http://schemas.microsoft.com/office/drawing/2014/main" id="{8240D55F-9300-2CBF-C807-A9FDD67A6F9B}"/>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
        <p:nvSpPr>
          <p:cNvPr id="4" name="Rettangolo 3">
            <a:extLst>
              <a:ext uri="{FF2B5EF4-FFF2-40B4-BE49-F238E27FC236}">
                <a16:creationId xmlns:a16="http://schemas.microsoft.com/office/drawing/2014/main" id="{755D36DA-42EA-60DE-6A23-764D1A5DD039}"/>
              </a:ext>
            </a:extLst>
          </p:cNvPr>
          <p:cNvSpPr/>
          <p:nvPr userDrawn="1"/>
        </p:nvSpPr>
        <p:spPr>
          <a:xfrm>
            <a:off x="1556426" y="1916349"/>
            <a:ext cx="2052536" cy="1512651"/>
          </a:xfrm>
          <a:prstGeom prst="rect">
            <a:avLst/>
          </a:prstGeom>
          <a:ln>
            <a:solidFill>
              <a:srgbClr val="00AD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Rettangolo 4">
            <a:extLst>
              <a:ext uri="{FF2B5EF4-FFF2-40B4-BE49-F238E27FC236}">
                <a16:creationId xmlns:a16="http://schemas.microsoft.com/office/drawing/2014/main" id="{48DE1A27-75AC-702D-92F6-FAF018E44D2C}"/>
              </a:ext>
            </a:extLst>
          </p:cNvPr>
          <p:cNvSpPr/>
          <p:nvPr userDrawn="1"/>
        </p:nvSpPr>
        <p:spPr>
          <a:xfrm>
            <a:off x="3865566" y="1913107"/>
            <a:ext cx="2052536" cy="1512651"/>
          </a:xfrm>
          <a:prstGeom prst="rect">
            <a:avLst/>
          </a:prstGeom>
          <a:solidFill>
            <a:srgbClr val="203865"/>
          </a:solidFill>
          <a:ln>
            <a:solidFill>
              <a:srgbClr val="203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2808F44E-9197-675C-C5E1-9ABA816A9596}"/>
              </a:ext>
            </a:extLst>
          </p:cNvPr>
          <p:cNvSpPr/>
          <p:nvPr userDrawn="1"/>
        </p:nvSpPr>
        <p:spPr>
          <a:xfrm>
            <a:off x="6174706" y="1916349"/>
            <a:ext cx="2052536" cy="1512651"/>
          </a:xfrm>
          <a:prstGeom prst="rect">
            <a:avLst/>
          </a:prstGeom>
          <a:solidFill>
            <a:srgbClr val="8FD2E9"/>
          </a:solidFill>
          <a:ln>
            <a:solidFill>
              <a:srgbClr val="8FD2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FCFC0305-3A10-0237-DB83-E4AF257F0D24}"/>
              </a:ext>
            </a:extLst>
          </p:cNvPr>
          <p:cNvSpPr/>
          <p:nvPr userDrawn="1"/>
        </p:nvSpPr>
        <p:spPr>
          <a:xfrm>
            <a:off x="8483846" y="1913106"/>
            <a:ext cx="2052536" cy="1512651"/>
          </a:xfrm>
          <a:prstGeom prst="rect">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Rettangolo 10">
            <a:extLst>
              <a:ext uri="{FF2B5EF4-FFF2-40B4-BE49-F238E27FC236}">
                <a16:creationId xmlns:a16="http://schemas.microsoft.com/office/drawing/2014/main" id="{3ED26F46-56A2-6AB2-EAED-4F98A7E09DEF}"/>
              </a:ext>
            </a:extLst>
          </p:cNvPr>
          <p:cNvSpPr/>
          <p:nvPr userDrawn="1"/>
        </p:nvSpPr>
        <p:spPr>
          <a:xfrm>
            <a:off x="1556426" y="3621934"/>
            <a:ext cx="2052536" cy="151265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highlight>
                <a:srgbClr val="C0C0C0"/>
              </a:highlight>
            </a:endParaRPr>
          </a:p>
        </p:txBody>
      </p:sp>
      <p:sp>
        <p:nvSpPr>
          <p:cNvPr id="15" name="Rettangolo 14">
            <a:extLst>
              <a:ext uri="{FF2B5EF4-FFF2-40B4-BE49-F238E27FC236}">
                <a16:creationId xmlns:a16="http://schemas.microsoft.com/office/drawing/2014/main" id="{FCD786AA-ED23-B734-C132-002524BA0695}"/>
              </a:ext>
            </a:extLst>
          </p:cNvPr>
          <p:cNvSpPr/>
          <p:nvPr userDrawn="1"/>
        </p:nvSpPr>
        <p:spPr>
          <a:xfrm>
            <a:off x="3865566" y="3621934"/>
            <a:ext cx="2052536" cy="151265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highlight>
                <a:srgbClr val="C0C0C0"/>
              </a:highlight>
            </a:endParaRPr>
          </a:p>
        </p:txBody>
      </p:sp>
      <p:sp>
        <p:nvSpPr>
          <p:cNvPr id="16" name="Rettangolo 15">
            <a:extLst>
              <a:ext uri="{FF2B5EF4-FFF2-40B4-BE49-F238E27FC236}">
                <a16:creationId xmlns:a16="http://schemas.microsoft.com/office/drawing/2014/main" id="{A3597CBB-2ACD-69E3-2147-B57B7482FD29}"/>
              </a:ext>
            </a:extLst>
          </p:cNvPr>
          <p:cNvSpPr/>
          <p:nvPr userDrawn="1"/>
        </p:nvSpPr>
        <p:spPr>
          <a:xfrm>
            <a:off x="6174706" y="3621933"/>
            <a:ext cx="2052536" cy="151265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highlight>
                <a:srgbClr val="C0C0C0"/>
              </a:highlight>
            </a:endParaRPr>
          </a:p>
        </p:txBody>
      </p:sp>
      <p:sp>
        <p:nvSpPr>
          <p:cNvPr id="17" name="Rettangolo 16">
            <a:extLst>
              <a:ext uri="{FF2B5EF4-FFF2-40B4-BE49-F238E27FC236}">
                <a16:creationId xmlns:a16="http://schemas.microsoft.com/office/drawing/2014/main" id="{3A79564F-DC92-8CB9-3A6D-D49AE6520BC1}"/>
              </a:ext>
            </a:extLst>
          </p:cNvPr>
          <p:cNvSpPr/>
          <p:nvPr userDrawn="1"/>
        </p:nvSpPr>
        <p:spPr>
          <a:xfrm>
            <a:off x="8491216" y="3615448"/>
            <a:ext cx="2052536" cy="151265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highlight>
                <a:srgbClr val="C0C0C0"/>
              </a:highlight>
            </a:endParaRPr>
          </a:p>
        </p:txBody>
      </p:sp>
      <p:sp>
        <p:nvSpPr>
          <p:cNvPr id="2" name="Title 5">
            <a:extLst>
              <a:ext uri="{FF2B5EF4-FFF2-40B4-BE49-F238E27FC236}">
                <a16:creationId xmlns:a16="http://schemas.microsoft.com/office/drawing/2014/main" id="{11B9E20F-EEFC-3021-9E3D-9526254BC804}"/>
              </a:ext>
            </a:extLst>
          </p:cNvPr>
          <p:cNvSpPr txBox="1">
            <a:spLocks/>
          </p:cNvSpPr>
          <p:nvPr userDrawn="1"/>
        </p:nvSpPr>
        <p:spPr>
          <a:xfrm>
            <a:off x="1655618" y="2337651"/>
            <a:ext cx="1236852" cy="676879"/>
          </a:xfrm>
          <a:prstGeom prst="rect">
            <a:avLst/>
          </a:prstGeom>
        </p:spPr>
        <p:txBody>
          <a:bodyPr vert="horz" lIns="91440" tIns="45720" rIns="91440" bIns="45720" rtlCol="0" anchor="ctr">
            <a:normAutofit/>
          </a:bodyPr>
          <a:lstStyle>
            <a:lvl1pPr marL="0" algn="l" defTabSz="457200" rtl="0" eaLnBrk="1" fontAlgn="auto" latinLnBrk="0" hangingPunct="1">
              <a:lnSpc>
                <a:spcPct val="90000"/>
              </a:lnSpc>
              <a:spcBef>
                <a:spcPts val="0"/>
              </a:spcBef>
              <a:spcAft>
                <a:spcPts val="0"/>
              </a:spcAft>
              <a:buNone/>
              <a:defRPr lang="en-US" sz="2800" b="1" kern="1200" spc="-60" baseline="0" dirty="0">
                <a:solidFill>
                  <a:srgbClr val="002060"/>
                </a:solidFill>
                <a:latin typeface="Montserrat"/>
                <a:ea typeface="+mn-ea"/>
                <a:cs typeface="+mn-cs"/>
              </a:defRPr>
            </a:lvl1pPr>
          </a:lstStyle>
          <a:p>
            <a:r>
              <a:rPr lang="it-IT" sz="1600" b="0" dirty="0"/>
              <a:t>#00ADCF</a:t>
            </a:r>
          </a:p>
        </p:txBody>
      </p:sp>
      <p:sp>
        <p:nvSpPr>
          <p:cNvPr id="7" name="Title 5">
            <a:extLst>
              <a:ext uri="{FF2B5EF4-FFF2-40B4-BE49-F238E27FC236}">
                <a16:creationId xmlns:a16="http://schemas.microsoft.com/office/drawing/2014/main" id="{0C3B2B13-42B3-C050-CE94-38B40870E2D2}"/>
              </a:ext>
            </a:extLst>
          </p:cNvPr>
          <p:cNvSpPr txBox="1">
            <a:spLocks/>
          </p:cNvSpPr>
          <p:nvPr userDrawn="1"/>
        </p:nvSpPr>
        <p:spPr>
          <a:xfrm>
            <a:off x="6216972" y="2293407"/>
            <a:ext cx="1236852" cy="676879"/>
          </a:xfrm>
          <a:prstGeom prst="rect">
            <a:avLst/>
          </a:prstGeom>
        </p:spPr>
        <p:txBody>
          <a:bodyPr vert="horz" lIns="91440" tIns="45720" rIns="91440" bIns="45720" rtlCol="0" anchor="ctr">
            <a:normAutofit/>
          </a:bodyPr>
          <a:lstStyle>
            <a:lvl1pPr marL="0" algn="l" defTabSz="457200" rtl="0" eaLnBrk="1" fontAlgn="auto" latinLnBrk="0" hangingPunct="1">
              <a:lnSpc>
                <a:spcPct val="90000"/>
              </a:lnSpc>
              <a:spcBef>
                <a:spcPts val="0"/>
              </a:spcBef>
              <a:spcAft>
                <a:spcPts val="0"/>
              </a:spcAft>
              <a:buNone/>
              <a:defRPr lang="en-US" sz="2800" b="1" kern="1200" spc="-60" baseline="0" dirty="0">
                <a:solidFill>
                  <a:srgbClr val="002060"/>
                </a:solidFill>
                <a:latin typeface="Montserrat"/>
                <a:ea typeface="+mn-ea"/>
                <a:cs typeface="+mn-cs"/>
              </a:defRPr>
            </a:lvl1pPr>
          </a:lstStyle>
          <a:p>
            <a:r>
              <a:rPr lang="it-IT" sz="1600" b="0" dirty="0"/>
              <a:t>#8FD2E9</a:t>
            </a:r>
          </a:p>
        </p:txBody>
      </p:sp>
      <p:sp>
        <p:nvSpPr>
          <p:cNvPr id="8" name="Title 5">
            <a:extLst>
              <a:ext uri="{FF2B5EF4-FFF2-40B4-BE49-F238E27FC236}">
                <a16:creationId xmlns:a16="http://schemas.microsoft.com/office/drawing/2014/main" id="{24E9181F-EB23-EEC9-4CF5-CB54A8B1F84E}"/>
              </a:ext>
            </a:extLst>
          </p:cNvPr>
          <p:cNvSpPr txBox="1">
            <a:spLocks/>
          </p:cNvSpPr>
          <p:nvPr userDrawn="1"/>
        </p:nvSpPr>
        <p:spPr>
          <a:xfrm>
            <a:off x="3947184" y="2293406"/>
            <a:ext cx="1236852" cy="676879"/>
          </a:xfrm>
          <a:prstGeom prst="rect">
            <a:avLst/>
          </a:prstGeom>
        </p:spPr>
        <p:txBody>
          <a:bodyPr vert="horz" lIns="91440" tIns="45720" rIns="91440" bIns="45720" rtlCol="0" anchor="ctr">
            <a:normAutofit/>
          </a:bodyPr>
          <a:lstStyle>
            <a:lvl1pPr marL="0" algn="l" defTabSz="457200" rtl="0" eaLnBrk="1" fontAlgn="auto" latinLnBrk="0" hangingPunct="1">
              <a:lnSpc>
                <a:spcPct val="90000"/>
              </a:lnSpc>
              <a:spcBef>
                <a:spcPts val="0"/>
              </a:spcBef>
              <a:spcAft>
                <a:spcPts val="0"/>
              </a:spcAft>
              <a:buNone/>
              <a:defRPr lang="en-US" sz="2800" b="1" kern="1200" spc="-60" baseline="0" dirty="0">
                <a:solidFill>
                  <a:srgbClr val="002060"/>
                </a:solidFill>
                <a:latin typeface="Montserrat"/>
                <a:ea typeface="+mn-ea"/>
                <a:cs typeface="+mn-cs"/>
              </a:defRPr>
            </a:lvl1pPr>
          </a:lstStyle>
          <a:p>
            <a:r>
              <a:rPr lang="it-IT" sz="1600" b="0" dirty="0">
                <a:solidFill>
                  <a:schemeClr val="bg1"/>
                </a:solidFill>
              </a:rPr>
              <a:t>#203865</a:t>
            </a:r>
          </a:p>
        </p:txBody>
      </p:sp>
    </p:spTree>
    <p:extLst>
      <p:ext uri="{BB962C8B-B14F-4D97-AF65-F5344CB8AC3E}">
        <p14:creationId xmlns:p14="http://schemas.microsoft.com/office/powerpoint/2010/main" val="921031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9355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it-IT" dirty="0"/>
              <a:t>Fare clic per modificare lo stile del titolo dello schema</a:t>
            </a:r>
            <a:endParaRPr lang="en-US" dirty="0"/>
          </a:p>
        </p:txBody>
      </p:sp>
      <p:sp>
        <p:nvSpPr>
          <p:cNvPr id="3" name="Content Placeholder 2"/>
          <p:cNvSpPr>
            <a:spLocks noGrp="1"/>
          </p:cNvSpPr>
          <p:nvPr>
            <p:ph idx="1"/>
          </p:nvPr>
        </p:nvSpPr>
        <p:spPr>
          <a:xfrm>
            <a:off x="3867912" y="868680"/>
            <a:ext cx="7315200" cy="5120640"/>
          </a:xfrm>
        </p:spPr>
        <p:txBody>
          <a:bodyPr/>
          <a:lstStyle>
            <a:lvl1pPr>
              <a:buClr>
                <a:srgbClr val="00ADCF"/>
              </a:buClr>
              <a:defRPr sz="2000"/>
            </a:lvl1pPr>
            <a:lvl2pPr>
              <a:buClr>
                <a:srgbClr val="00ADCF"/>
              </a:buClr>
              <a:defRPr sz="1800"/>
            </a:lvl2pPr>
            <a:lvl3pPr>
              <a:buClr>
                <a:srgbClr val="00ADCF"/>
              </a:buClr>
              <a:defRPr sz="1600"/>
            </a:lvl3pPr>
            <a:lvl4pPr>
              <a:buClr>
                <a:srgbClr val="00ADCF"/>
              </a:buClr>
              <a:defRPr sz="1400"/>
            </a:lvl4pPr>
            <a:lvl5pPr>
              <a:buClr>
                <a:srgbClr val="00ADCF"/>
              </a:buClr>
              <a:defRPr sz="1400"/>
            </a:lvl5pPr>
            <a:lvl6pPr>
              <a:defRPr sz="1400"/>
            </a:lvl6pPr>
            <a:lvl7pPr>
              <a:defRPr sz="1400"/>
            </a:lvl7pPr>
            <a:lvl8pPr>
              <a:defRPr sz="1400"/>
            </a:lvl8pPr>
            <a:lvl9pPr>
              <a:defRPr sz="1400"/>
            </a:lvl9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lide Number Placeholder 9">
            <a:extLst>
              <a:ext uri="{FF2B5EF4-FFF2-40B4-BE49-F238E27FC236}">
                <a16:creationId xmlns:a16="http://schemas.microsoft.com/office/drawing/2014/main" id="{73501EA8-E3F8-116C-0D52-93261E578CEF}"/>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Tree>
    <p:extLst>
      <p:ext uri="{BB962C8B-B14F-4D97-AF65-F5344CB8AC3E}">
        <p14:creationId xmlns:p14="http://schemas.microsoft.com/office/powerpoint/2010/main" val="15432652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ags" Target="../tags/tag1.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media/image5.emf"/><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89744" y="290210"/>
            <a:ext cx="9844391" cy="676879"/>
          </a:xfrm>
          <a:prstGeom prst="rect">
            <a:avLst/>
          </a:prstGeom>
        </p:spPr>
        <p:txBody>
          <a:bodyPr vert="horz" lIns="91440" tIns="45720" rIns="91440" bIns="45720" rtlCol="0" anchor="ctr">
            <a:normAutofit/>
          </a:bodyPr>
          <a:lstStyle/>
          <a:p>
            <a:r>
              <a:rPr lang="it-IT" dirty="0"/>
              <a:t>Fare clic per modificare lo stile del titolo dello schema</a:t>
            </a:r>
            <a:endParaRPr lang="en-US" dirty="0"/>
          </a:p>
        </p:txBody>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pic>
        <p:nvPicPr>
          <p:cNvPr id="9" name="Immagine 11">
            <a:extLst>
              <a:ext uri="{FF2B5EF4-FFF2-40B4-BE49-F238E27FC236}">
                <a16:creationId xmlns:a16="http://schemas.microsoft.com/office/drawing/2014/main" id="{E4BA06CA-35C6-4503-92CE-F56018A76EFD}"/>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364913" y="6389688"/>
            <a:ext cx="5969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egnaposto numero diapositiva 4">
            <a:extLst>
              <a:ext uri="{FF2B5EF4-FFF2-40B4-BE49-F238E27FC236}">
                <a16:creationId xmlns:a16="http://schemas.microsoft.com/office/drawing/2014/main" id="{75823CF6-B575-5F49-9857-1100EA09032D}"/>
              </a:ext>
            </a:extLst>
          </p:cNvPr>
          <p:cNvSpPr txBox="1">
            <a:spLocks/>
          </p:cNvSpPr>
          <p:nvPr userDrawn="1"/>
        </p:nvSpPr>
        <p:spPr>
          <a:xfrm>
            <a:off x="862299" y="6280294"/>
            <a:ext cx="270161" cy="365125"/>
          </a:xfrm>
          <a:prstGeom prst="rect">
            <a:avLst/>
          </a:prstGeom>
        </p:spPr>
        <p:txBody>
          <a:bodyPr lIns="0" tIns="0" rIns="0" bIns="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it-IT" sz="1200" b="1" dirty="0">
              <a:solidFill>
                <a:srgbClr val="203865"/>
              </a:solidFill>
              <a:latin typeface="Montserrat Medium" panose="00000600000000000000" pitchFamily="2" charset="0"/>
              <a:ea typeface="Open Sans" panose="020B0606030504020204" pitchFamily="34" charset="0"/>
              <a:cs typeface="Open Sans" panose="020B0606030504020204" pitchFamily="34" charset="0"/>
            </a:endParaRPr>
          </a:p>
        </p:txBody>
      </p:sp>
      <p:cxnSp>
        <p:nvCxnSpPr>
          <p:cNvPr id="11" name="Connettore 1 11">
            <a:extLst>
              <a:ext uri="{FF2B5EF4-FFF2-40B4-BE49-F238E27FC236}">
                <a16:creationId xmlns:a16="http://schemas.microsoft.com/office/drawing/2014/main" id="{4722A3DC-FE88-5F1F-57EC-E92FAF943F32}"/>
              </a:ext>
            </a:extLst>
          </p:cNvPr>
          <p:cNvCxnSpPr>
            <a:cxnSpLocks/>
          </p:cNvCxnSpPr>
          <p:nvPr userDrawn="1"/>
        </p:nvCxnSpPr>
        <p:spPr>
          <a:xfrm>
            <a:off x="598065" y="0"/>
            <a:ext cx="0" cy="1257300"/>
          </a:xfrm>
          <a:prstGeom prst="line">
            <a:avLst/>
          </a:prstGeom>
          <a:ln w="63500">
            <a:solidFill>
              <a:srgbClr val="00ADCF"/>
            </a:solidFill>
          </a:ln>
        </p:spPr>
        <p:style>
          <a:lnRef idx="1">
            <a:schemeClr val="accent1"/>
          </a:lnRef>
          <a:fillRef idx="0">
            <a:schemeClr val="accent1"/>
          </a:fillRef>
          <a:effectRef idx="0">
            <a:schemeClr val="accent1"/>
          </a:effectRef>
          <a:fontRef idx="minor">
            <a:schemeClr val="tx1"/>
          </a:fontRef>
        </p:style>
      </p:cxnSp>
      <p:cxnSp>
        <p:nvCxnSpPr>
          <p:cNvPr id="12" name="Connettore 1 11">
            <a:extLst>
              <a:ext uri="{FF2B5EF4-FFF2-40B4-BE49-F238E27FC236}">
                <a16:creationId xmlns:a16="http://schemas.microsoft.com/office/drawing/2014/main" id="{5B91AE1C-406E-F484-F44E-0C75BB67F752}"/>
              </a:ext>
            </a:extLst>
          </p:cNvPr>
          <p:cNvCxnSpPr>
            <a:cxnSpLocks/>
          </p:cNvCxnSpPr>
          <p:nvPr userDrawn="1"/>
        </p:nvCxnSpPr>
        <p:spPr>
          <a:xfrm>
            <a:off x="597716" y="6321425"/>
            <a:ext cx="0" cy="536575"/>
          </a:xfrm>
          <a:prstGeom prst="line">
            <a:avLst/>
          </a:prstGeom>
          <a:ln w="63500">
            <a:solidFill>
              <a:srgbClr val="00ADCF"/>
            </a:solidFill>
          </a:ln>
        </p:spPr>
        <p:style>
          <a:lnRef idx="1">
            <a:schemeClr val="accent1"/>
          </a:lnRef>
          <a:fillRef idx="0">
            <a:schemeClr val="accent1"/>
          </a:fillRef>
          <a:effectRef idx="0">
            <a:schemeClr val="accent1"/>
          </a:effectRef>
          <a:fontRef idx="minor">
            <a:schemeClr val="tx1"/>
          </a:fontRef>
        </p:style>
      </p:cxnSp>
      <p:sp>
        <p:nvSpPr>
          <p:cNvPr id="13" name="Slide Number Placeholder 9">
            <a:extLst>
              <a:ext uri="{FF2B5EF4-FFF2-40B4-BE49-F238E27FC236}">
                <a16:creationId xmlns:a16="http://schemas.microsoft.com/office/drawing/2014/main" id="{E2FA98B0-20C2-ADE0-F17F-A7E1AED56330}"/>
              </a:ext>
            </a:extLst>
          </p:cNvPr>
          <p:cNvSpPr>
            <a:spLocks noGrp="1"/>
          </p:cNvSpPr>
          <p:nvPr>
            <p:ph type="sldNum" sz="quarter" idx="4"/>
          </p:nvPr>
        </p:nvSpPr>
        <p:spPr>
          <a:xfrm>
            <a:off x="789744" y="6349393"/>
            <a:ext cx="1530927" cy="365125"/>
          </a:xfrm>
          <a:prstGeom prst="rect">
            <a:avLst/>
          </a:prstGeom>
        </p:spPr>
        <p:txBody>
          <a:bodyPr/>
          <a:lstStyle>
            <a:lvl1pPr>
              <a:defRPr lang="it-IT" sz="1200" b="1" kern="1200" spc="-60" baseline="0" smtClean="0">
                <a:solidFill>
                  <a:srgbClr val="002060"/>
                </a:solidFill>
                <a:latin typeface="Montserrat"/>
                <a:ea typeface="+mn-ea"/>
                <a:cs typeface="+mn-cs"/>
              </a:defRPr>
            </a:lvl1pPr>
          </a:lstStyle>
          <a:p>
            <a:fld id="{0E40EB1B-F5EF-4BD9-BEF0-8FDE7FEF3ED8}" type="slidenum">
              <a:rPr lang="it-IT" smtClean="0"/>
              <a:pPr/>
              <a:t>‹#›</a:t>
            </a:fld>
            <a:endParaRPr lang="it-IT" dirty="0"/>
          </a:p>
        </p:txBody>
      </p:sp>
    </p:spTree>
    <p:extLst>
      <p:ext uri="{BB962C8B-B14F-4D97-AF65-F5344CB8AC3E}">
        <p14:creationId xmlns:p14="http://schemas.microsoft.com/office/powerpoint/2010/main" val="12569595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2" r:id="rId7"/>
    <p:sldLayoutId id="2147483667" r:id="rId8"/>
    <p:sldLayoutId id="2147483668" r:id="rId9"/>
    <p:sldLayoutId id="2147483669" r:id="rId10"/>
    <p:sldLayoutId id="2147483670" r:id="rId11"/>
    <p:sldLayoutId id="2147483671" r:id="rId12"/>
  </p:sldLayoutIdLst>
  <p:hf hdr="0" ftr="0" dt="0"/>
  <p:txStyles>
    <p:titleStyle>
      <a:lvl1pPr marL="0" algn="l" defTabSz="457200" rtl="0" eaLnBrk="1" fontAlgn="auto" latinLnBrk="0" hangingPunct="1">
        <a:lnSpc>
          <a:spcPct val="90000"/>
        </a:lnSpc>
        <a:spcBef>
          <a:spcPts val="0"/>
        </a:spcBef>
        <a:spcAft>
          <a:spcPts val="0"/>
        </a:spcAft>
        <a:buNone/>
        <a:defRPr lang="en-US" sz="2800" b="1" kern="1200" spc="-60" baseline="0" dirty="0">
          <a:solidFill>
            <a:srgbClr val="002060"/>
          </a:solidFill>
          <a:latin typeface="Montserrat"/>
          <a:ea typeface="+mn-ea"/>
          <a:cs typeface="+mn-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22C0850-3EC2-54CF-DBC4-5A7B68155083}"/>
              </a:ext>
            </a:extLst>
          </p:cNvPr>
          <p:cNvGraphicFramePr>
            <a:graphicFrameLocks noChangeAspect="1"/>
          </p:cNvGraphicFramePr>
          <p:nvPr userDrawn="1">
            <p:custDataLst>
              <p:tags r:id="rId21"/>
            </p:custDataLst>
            <p:extLst>
              <p:ext uri="{D42A27DB-BD31-4B8C-83A1-F6EECF244321}">
                <p14:modId xmlns:p14="http://schemas.microsoft.com/office/powerpoint/2010/main" val="33825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think-cell" r:id="rId22" imgW="7772400" imgH="10058400" progId="TCLayout.ActiveDocument.1">
                  <p:embed/>
                </p:oleObj>
              </mc:Choice>
              <mc:Fallback>
                <p:oleObj name="Diapositiva think-cell" r:id="rId22" imgW="7772400" imgH="10058400" progId="TCLayout.ActiveDocument.1">
                  <p:embed/>
                  <p:pic>
                    <p:nvPicPr>
                      <p:cNvPr id="8" name="think-cell data - do not delete" hidden="1">
                        <a:extLst>
                          <a:ext uri="{FF2B5EF4-FFF2-40B4-BE49-F238E27FC236}">
                            <a16:creationId xmlns:a16="http://schemas.microsoft.com/office/drawing/2014/main" id="{522C0850-3EC2-54CF-DBC4-5A7B68155083}"/>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174B5693-1393-1A99-A3C3-F166F23BA1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698CE2F4-5CCF-7D86-6933-1052BF9AC9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4BC5F9F2-F4AB-420F-27C0-E21F588397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2008C1-1E4D-364A-9836-3A53CDB44405}" type="datetimeFigureOut">
              <a:rPr lang="it-IT" smtClean="0"/>
              <a:t>19/04/2024</a:t>
            </a:fld>
            <a:endParaRPr lang="it-IT"/>
          </a:p>
        </p:txBody>
      </p:sp>
      <p:sp>
        <p:nvSpPr>
          <p:cNvPr id="5" name="Segnaposto piè di pagina 4">
            <a:extLst>
              <a:ext uri="{FF2B5EF4-FFF2-40B4-BE49-F238E27FC236}">
                <a16:creationId xmlns:a16="http://schemas.microsoft.com/office/drawing/2014/main" id="{00EB1250-5A02-6E97-1664-1C75C5C7509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536FE322-F182-74B4-01B3-1F62441C7D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755E48C-610A-4246-BA3D-0E3D39A7233A}" type="slidenum">
              <a:rPr lang="it-IT" smtClean="0"/>
              <a:t>‹#›</a:t>
            </a:fld>
            <a:endParaRPr lang="it-IT"/>
          </a:p>
        </p:txBody>
      </p:sp>
    </p:spTree>
    <p:extLst>
      <p:ext uri="{BB962C8B-B14F-4D97-AF65-F5344CB8AC3E}">
        <p14:creationId xmlns:p14="http://schemas.microsoft.com/office/powerpoint/2010/main" val="168350345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4.emf"/><Relationship Id="rId7" Type="http://schemas.openxmlformats.org/officeDocument/2006/relationships/hyperlink" Target="https://www.youtube.com/@eurocccitaly/featured" TargetMode="External"/><Relationship Id="rId2" Type="http://schemas.openxmlformats.org/officeDocument/2006/relationships/slideLayout" Target="../slideLayouts/slideLayout31.xml"/><Relationship Id="rId1" Type="http://schemas.openxmlformats.org/officeDocument/2006/relationships/tags" Target="../tags/tag2.xml"/><Relationship Id="rId6" Type="http://schemas.openxmlformats.org/officeDocument/2006/relationships/hyperlink" Target="https://www.linkedin.com/company/eurocc-italy/" TargetMode="External"/><Relationship Id="rId5" Type="http://schemas.openxmlformats.org/officeDocument/2006/relationships/image" Target="../media/image36.png"/><Relationship Id="rId10" Type="http://schemas.openxmlformats.org/officeDocument/2006/relationships/image" Target="../media/image38.svg"/><Relationship Id="rId4" Type="http://schemas.openxmlformats.org/officeDocument/2006/relationships/image" Target="../media/image35.jpeg"/><Relationship Id="rId9"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ACFC0-58EF-E4D7-7B37-6555A77EF1D7}"/>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D0A941EE-67FC-7279-E0B8-2865AFB7E245}"/>
              </a:ext>
            </a:extLst>
          </p:cNvPr>
          <p:cNvSpPr>
            <a:spLocks noGrp="1"/>
          </p:cNvSpPr>
          <p:nvPr>
            <p:ph type="subTitle" idx="1"/>
          </p:nvPr>
        </p:nvSpPr>
        <p:spPr/>
        <p:txBody>
          <a:bodyPr/>
          <a:lstStyle/>
          <a:p>
            <a:endParaRPr lang="en-US"/>
          </a:p>
        </p:txBody>
      </p:sp>
      <p:pic>
        <p:nvPicPr>
          <p:cNvPr id="4" name="Picture 3" descr="A blue and pink smoke&#10;&#10;Description automatically generated">
            <a:extLst>
              <a:ext uri="{FF2B5EF4-FFF2-40B4-BE49-F238E27FC236}">
                <a16:creationId xmlns:a16="http://schemas.microsoft.com/office/drawing/2014/main" id="{F3BDCA84-F757-E776-8034-61003555F053}"/>
              </a:ext>
            </a:extLst>
          </p:cNvPr>
          <p:cNvPicPr/>
          <p:nvPr/>
        </p:nvPicPr>
        <p:blipFill rotWithShape="1">
          <a:blip r:embed="rId2">
            <a:extLst>
              <a:ext uri="{28A0092B-C50C-407E-A947-70E740481C1C}">
                <a14:useLocalDpi xmlns:a14="http://schemas.microsoft.com/office/drawing/2010/main" val="0"/>
              </a:ext>
            </a:extLst>
          </a:blip>
          <a:srcRect l="444"/>
          <a:stretch/>
        </p:blipFill>
        <p:spPr>
          <a:xfrm>
            <a:off x="1" y="10"/>
            <a:ext cx="12225250" cy="6857990"/>
          </a:xfrm>
          <a:prstGeom prst="rect">
            <a:avLst/>
          </a:prstGeom>
        </p:spPr>
      </p:pic>
      <p:sp>
        <p:nvSpPr>
          <p:cNvPr id="5" name="Title 1">
            <a:extLst>
              <a:ext uri="{FF2B5EF4-FFF2-40B4-BE49-F238E27FC236}">
                <a16:creationId xmlns:a16="http://schemas.microsoft.com/office/drawing/2014/main" id="{DF7885BA-BCC5-8DD8-A72A-E7EE6B2939EA}"/>
              </a:ext>
            </a:extLst>
          </p:cNvPr>
          <p:cNvSpPr txBox="1">
            <a:spLocks/>
          </p:cNvSpPr>
          <p:nvPr/>
        </p:nvSpPr>
        <p:spPr>
          <a:xfrm>
            <a:off x="3048" y="325550"/>
            <a:ext cx="3304507" cy="3574778"/>
          </a:xfrm>
          <a:prstGeom prst="rect">
            <a:avLst/>
          </a:prstGeom>
          <a:effectLst>
            <a:outerShdw blurRad="50800" dist="38100" dir="2700000" algn="tl" rotWithShape="0">
              <a:prstClr val="black">
                <a:alpha val="40000"/>
              </a:prstClr>
            </a:outerShdw>
          </a:effectLst>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400" dirty="0">
                <a:solidFill>
                  <a:srgbClr val="FFFFFF"/>
                </a:solidFill>
              </a:rPr>
              <a:t>A Gentle introduction to LLMs and </a:t>
            </a:r>
            <a:r>
              <a:rPr lang="en-US" sz="4400" dirty="0" err="1">
                <a:solidFill>
                  <a:srgbClr val="FFFFFF"/>
                </a:solidFill>
              </a:rPr>
              <a:t>LLaMa</a:t>
            </a:r>
            <a:endParaRPr lang="en-US" sz="4400" dirty="0">
              <a:solidFill>
                <a:srgbClr val="FFFFFF"/>
              </a:solidFill>
            </a:endParaRPr>
          </a:p>
        </p:txBody>
      </p:sp>
      <p:sp>
        <p:nvSpPr>
          <p:cNvPr id="6" name="Subtitle 2">
            <a:extLst>
              <a:ext uri="{FF2B5EF4-FFF2-40B4-BE49-F238E27FC236}">
                <a16:creationId xmlns:a16="http://schemas.microsoft.com/office/drawing/2014/main" id="{4306B9A5-3351-854C-A107-58BB81C77864}"/>
              </a:ext>
            </a:extLst>
          </p:cNvPr>
          <p:cNvSpPr txBox="1">
            <a:spLocks/>
          </p:cNvSpPr>
          <p:nvPr/>
        </p:nvSpPr>
        <p:spPr>
          <a:xfrm>
            <a:off x="278520" y="4029180"/>
            <a:ext cx="2643274" cy="1282707"/>
          </a:xfrm>
          <a:prstGeom prst="rect">
            <a:avLst/>
          </a:prstGeom>
          <a:effectLst>
            <a:outerShdw blurRad="50800" dist="38100" dir="2700000" algn="tl" rotWithShape="0">
              <a:prstClr val="black">
                <a:alpha val="40000"/>
              </a:prstClr>
            </a:outerShdw>
          </a:effectLst>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b="1" dirty="0">
                <a:solidFill>
                  <a:srgbClr val="FFFFFF"/>
                </a:solidFill>
              </a:rPr>
              <a:t>Ivan Gentile </a:t>
            </a:r>
          </a:p>
          <a:p>
            <a:r>
              <a:rPr lang="en-US" b="1" dirty="0">
                <a:solidFill>
                  <a:srgbClr val="FFFFFF"/>
                </a:solidFill>
              </a:rPr>
              <a:t>IFAB</a:t>
            </a:r>
          </a:p>
          <a:p>
            <a:r>
              <a:rPr lang="en-US" b="1" dirty="0" err="1">
                <a:solidFill>
                  <a:srgbClr val="FFFFFF"/>
                </a:solidFill>
              </a:rPr>
              <a:t>EuroCC</a:t>
            </a:r>
            <a:r>
              <a:rPr lang="en-US" b="1" dirty="0">
                <a:solidFill>
                  <a:srgbClr val="FFFFFF"/>
                </a:solidFill>
              </a:rPr>
              <a:t> Italy</a:t>
            </a:r>
          </a:p>
        </p:txBody>
      </p:sp>
    </p:spTree>
    <p:extLst>
      <p:ext uri="{BB962C8B-B14F-4D97-AF65-F5344CB8AC3E}">
        <p14:creationId xmlns:p14="http://schemas.microsoft.com/office/powerpoint/2010/main" val="240798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9C2D8-87A3-81B9-B730-1557C6CE511B}"/>
              </a:ext>
            </a:extLst>
          </p:cNvPr>
          <p:cNvSpPr>
            <a:spLocks noGrp="1"/>
          </p:cNvSpPr>
          <p:nvPr>
            <p:ph type="title"/>
          </p:nvPr>
        </p:nvSpPr>
        <p:spPr/>
        <p:txBody>
          <a:bodyPr>
            <a:normAutofit fontScale="90000"/>
          </a:bodyPr>
          <a:lstStyle/>
          <a:p>
            <a:r>
              <a:rPr lang="en-US" dirty="0"/>
              <a:t>Different model sizes for different computing capabilities</a:t>
            </a:r>
          </a:p>
        </p:txBody>
      </p:sp>
      <p:pic>
        <p:nvPicPr>
          <p:cNvPr id="5" name="Picture 4">
            <a:extLst>
              <a:ext uri="{FF2B5EF4-FFF2-40B4-BE49-F238E27FC236}">
                <a16:creationId xmlns:a16="http://schemas.microsoft.com/office/drawing/2014/main" id="{153B5491-FC5C-430E-C05B-8AAB34D9D11B}"/>
              </a:ext>
            </a:extLst>
          </p:cNvPr>
          <p:cNvPicPr>
            <a:picLocks noChangeAspect="1"/>
          </p:cNvPicPr>
          <p:nvPr/>
        </p:nvPicPr>
        <p:blipFill>
          <a:blip r:embed="rId3"/>
          <a:stretch>
            <a:fillRect/>
          </a:stretch>
        </p:blipFill>
        <p:spPr>
          <a:xfrm>
            <a:off x="1557865" y="967089"/>
            <a:ext cx="8931337" cy="5795220"/>
          </a:xfrm>
          <a:prstGeom prst="rect">
            <a:avLst/>
          </a:prstGeom>
        </p:spPr>
      </p:pic>
      <p:sp>
        <p:nvSpPr>
          <p:cNvPr id="4" name="Frame 3">
            <a:extLst>
              <a:ext uri="{FF2B5EF4-FFF2-40B4-BE49-F238E27FC236}">
                <a16:creationId xmlns:a16="http://schemas.microsoft.com/office/drawing/2014/main" id="{CFBAB0DD-9C3C-B26A-C238-46933B64C3F1}"/>
              </a:ext>
            </a:extLst>
          </p:cNvPr>
          <p:cNvSpPr/>
          <p:nvPr/>
        </p:nvSpPr>
        <p:spPr>
          <a:xfrm>
            <a:off x="4352717" y="5603502"/>
            <a:ext cx="474071" cy="1118254"/>
          </a:xfrm>
          <a:prstGeom prst="frame">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 name="Immagine 11" descr="Immagine che contiene Carattere, logo, Elementi grafici, testo&#10;&#10;Descrizione generata automaticamente">
            <a:extLst>
              <a:ext uri="{FF2B5EF4-FFF2-40B4-BE49-F238E27FC236}">
                <a16:creationId xmlns:a16="http://schemas.microsoft.com/office/drawing/2014/main" id="{D50E4766-61DE-4619-E1DA-90E310007039}"/>
              </a:ext>
            </a:extLst>
          </p:cNvPr>
          <p:cNvPicPr>
            <a:picLocks noChangeAspect="1"/>
          </p:cNvPicPr>
          <p:nvPr/>
        </p:nvPicPr>
        <p:blipFill>
          <a:blip r:embed="rId4"/>
          <a:stretch>
            <a:fillRect/>
          </a:stretch>
        </p:blipFill>
        <p:spPr>
          <a:xfrm>
            <a:off x="10269437" y="5912638"/>
            <a:ext cx="1704759" cy="863169"/>
          </a:xfrm>
          <a:prstGeom prst="rect">
            <a:avLst/>
          </a:prstGeom>
        </p:spPr>
      </p:pic>
    </p:spTree>
    <p:extLst>
      <p:ext uri="{BB962C8B-B14F-4D97-AF65-F5344CB8AC3E}">
        <p14:creationId xmlns:p14="http://schemas.microsoft.com/office/powerpoint/2010/main" val="587723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F678E-3AFF-E79D-1EC7-B2C7AD2D5592}"/>
              </a:ext>
            </a:extLst>
          </p:cNvPr>
          <p:cNvSpPr>
            <a:spLocks noGrp="1"/>
          </p:cNvSpPr>
          <p:nvPr>
            <p:ph type="title"/>
          </p:nvPr>
        </p:nvSpPr>
        <p:spPr/>
        <p:txBody>
          <a:bodyPr>
            <a:normAutofit/>
          </a:bodyPr>
          <a:lstStyle/>
          <a:p>
            <a:r>
              <a:rPr lang="en-US" dirty="0"/>
              <a:t>Different flavors for different use cases</a:t>
            </a:r>
          </a:p>
        </p:txBody>
      </p:sp>
      <p:pic>
        <p:nvPicPr>
          <p:cNvPr id="12" name="Picture 11">
            <a:extLst>
              <a:ext uri="{FF2B5EF4-FFF2-40B4-BE49-F238E27FC236}">
                <a16:creationId xmlns:a16="http://schemas.microsoft.com/office/drawing/2014/main" id="{341554E6-AB99-D29E-B7A3-E8ACA2828AC5}"/>
              </a:ext>
            </a:extLst>
          </p:cNvPr>
          <p:cNvPicPr>
            <a:picLocks noChangeAspect="1"/>
          </p:cNvPicPr>
          <p:nvPr/>
        </p:nvPicPr>
        <p:blipFill>
          <a:blip r:embed="rId3"/>
          <a:stretch>
            <a:fillRect/>
          </a:stretch>
        </p:blipFill>
        <p:spPr>
          <a:xfrm>
            <a:off x="-58941" y="1452372"/>
            <a:ext cx="8452177" cy="3708114"/>
          </a:xfrm>
          <a:prstGeom prst="rect">
            <a:avLst/>
          </a:prstGeom>
        </p:spPr>
      </p:pic>
      <p:sp>
        <p:nvSpPr>
          <p:cNvPr id="17" name="Content Placeholder 16">
            <a:extLst>
              <a:ext uri="{FF2B5EF4-FFF2-40B4-BE49-F238E27FC236}">
                <a16:creationId xmlns:a16="http://schemas.microsoft.com/office/drawing/2014/main" id="{C5A6805A-E834-1D51-80D5-17636BD6EF41}"/>
              </a:ext>
            </a:extLst>
          </p:cNvPr>
          <p:cNvSpPr>
            <a:spLocks noGrp="1"/>
          </p:cNvSpPr>
          <p:nvPr>
            <p:ph idx="1"/>
          </p:nvPr>
        </p:nvSpPr>
        <p:spPr>
          <a:xfrm>
            <a:off x="3786944" y="5546567"/>
            <a:ext cx="5598160" cy="1697514"/>
          </a:xfrm>
        </p:spPr>
        <p:txBody>
          <a:bodyPr>
            <a:normAutofit/>
          </a:bodyPr>
          <a:lstStyle/>
          <a:p>
            <a:r>
              <a:rPr lang="en-US" sz="1100" dirty="0"/>
              <a:t>Llama 2 =  Foundational model (good at text completion) </a:t>
            </a:r>
          </a:p>
          <a:p>
            <a:r>
              <a:rPr lang="en-US" sz="1100" dirty="0"/>
              <a:t>Llama2 – chat = Good at question answering (like ChatGPT!) </a:t>
            </a:r>
          </a:p>
          <a:p>
            <a:r>
              <a:rPr lang="en-US" sz="1100" dirty="0" err="1"/>
              <a:t>CodeLlama</a:t>
            </a:r>
            <a:r>
              <a:rPr lang="en-US" sz="1100" dirty="0"/>
              <a:t> - Instruct: for instruction following and safer deployment</a:t>
            </a:r>
          </a:p>
          <a:p>
            <a:r>
              <a:rPr lang="en-US" sz="1100" dirty="0" err="1"/>
              <a:t>LlamaGuard</a:t>
            </a:r>
            <a:r>
              <a:rPr lang="en-US" sz="1100" dirty="0"/>
              <a:t>: input-output safeguard model.</a:t>
            </a:r>
          </a:p>
          <a:p>
            <a:r>
              <a:rPr lang="en-US" sz="1100" dirty="0"/>
              <a:t>* – hf = Hugging Face format</a:t>
            </a:r>
          </a:p>
          <a:p>
            <a:endParaRPr lang="en-US" dirty="0"/>
          </a:p>
          <a:p>
            <a:endParaRPr lang="en-US" dirty="0"/>
          </a:p>
        </p:txBody>
      </p:sp>
      <p:pic>
        <p:nvPicPr>
          <p:cNvPr id="1026" name="Picture 2">
            <a:extLst>
              <a:ext uri="{FF2B5EF4-FFF2-40B4-BE49-F238E27FC236}">
                <a16:creationId xmlns:a16="http://schemas.microsoft.com/office/drawing/2014/main" id="{A34D0846-7813-828F-0489-53BC33B540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1156" y="1452372"/>
            <a:ext cx="3708114" cy="3708114"/>
          </a:xfrm>
          <a:prstGeom prst="rect">
            <a:avLst/>
          </a:prstGeom>
          <a:noFill/>
          <a:extLst>
            <a:ext uri="{909E8E84-426E-40DD-AFC4-6F175D3DCCD1}">
              <a14:hiddenFill xmlns:a14="http://schemas.microsoft.com/office/drawing/2010/main">
                <a:solidFill>
                  <a:srgbClr val="FFFFFF"/>
                </a:solidFill>
              </a14:hiddenFill>
            </a:ext>
          </a:extLst>
        </p:spPr>
      </p:pic>
      <p:pic>
        <p:nvPicPr>
          <p:cNvPr id="3" name="Immagine 11" descr="Immagine che contiene Carattere, logo, Elementi grafici, testo&#10;&#10;Descrizione generata automaticamente">
            <a:extLst>
              <a:ext uri="{FF2B5EF4-FFF2-40B4-BE49-F238E27FC236}">
                <a16:creationId xmlns:a16="http://schemas.microsoft.com/office/drawing/2014/main" id="{9A1BFA60-69A2-64EB-706E-20F0F427B45E}"/>
              </a:ext>
            </a:extLst>
          </p:cNvPr>
          <p:cNvPicPr>
            <a:picLocks noChangeAspect="1"/>
          </p:cNvPicPr>
          <p:nvPr/>
        </p:nvPicPr>
        <p:blipFill>
          <a:blip r:embed="rId5"/>
          <a:stretch>
            <a:fillRect/>
          </a:stretch>
        </p:blipFill>
        <p:spPr>
          <a:xfrm>
            <a:off x="10269437" y="5912638"/>
            <a:ext cx="1704759" cy="863169"/>
          </a:xfrm>
          <a:prstGeom prst="rect">
            <a:avLst/>
          </a:prstGeom>
        </p:spPr>
      </p:pic>
    </p:spTree>
    <p:extLst>
      <p:ext uri="{BB962C8B-B14F-4D97-AF65-F5344CB8AC3E}">
        <p14:creationId xmlns:p14="http://schemas.microsoft.com/office/powerpoint/2010/main" val="7534622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2B2C9-EF7A-0CE1-F1E2-1CA1BD038117}"/>
              </a:ext>
            </a:extLst>
          </p:cNvPr>
          <p:cNvSpPr>
            <a:spLocks noGrp="1"/>
          </p:cNvSpPr>
          <p:nvPr>
            <p:ph type="title"/>
          </p:nvPr>
        </p:nvSpPr>
        <p:spPr/>
        <p:txBody>
          <a:bodyPr/>
          <a:lstStyle/>
          <a:p>
            <a:r>
              <a:rPr lang="en-US" dirty="0"/>
              <a:t>Last minute news</a:t>
            </a:r>
          </a:p>
        </p:txBody>
      </p:sp>
      <p:pic>
        <p:nvPicPr>
          <p:cNvPr id="7" name="Content Placeholder 6">
            <a:extLst>
              <a:ext uri="{FF2B5EF4-FFF2-40B4-BE49-F238E27FC236}">
                <a16:creationId xmlns:a16="http://schemas.microsoft.com/office/drawing/2014/main" id="{D8D0F7BB-162C-8976-78B1-5305C237049A}"/>
              </a:ext>
            </a:extLst>
          </p:cNvPr>
          <p:cNvPicPr>
            <a:picLocks noGrp="1" noChangeAspect="1"/>
          </p:cNvPicPr>
          <p:nvPr>
            <p:ph idx="1"/>
          </p:nvPr>
        </p:nvPicPr>
        <p:blipFill>
          <a:blip r:embed="rId2"/>
          <a:stretch>
            <a:fillRect/>
          </a:stretch>
        </p:blipFill>
        <p:spPr>
          <a:xfrm>
            <a:off x="4660492" y="960001"/>
            <a:ext cx="7102455" cy="3741744"/>
          </a:xfrm>
        </p:spPr>
      </p:pic>
      <p:sp>
        <p:nvSpPr>
          <p:cNvPr id="4" name="Slide Number Placeholder 3">
            <a:extLst>
              <a:ext uri="{FF2B5EF4-FFF2-40B4-BE49-F238E27FC236}">
                <a16:creationId xmlns:a16="http://schemas.microsoft.com/office/drawing/2014/main" id="{60211448-B075-D775-F1CB-14913FDD4854}"/>
              </a:ext>
            </a:extLst>
          </p:cNvPr>
          <p:cNvSpPr>
            <a:spLocks noGrp="1"/>
          </p:cNvSpPr>
          <p:nvPr>
            <p:ph type="sldNum" sz="quarter" idx="4"/>
          </p:nvPr>
        </p:nvSpPr>
        <p:spPr/>
        <p:txBody>
          <a:bodyPr/>
          <a:lstStyle/>
          <a:p>
            <a:fld id="{0E40EB1B-F5EF-4BD9-BEF0-8FDE7FEF3ED8}" type="slidenum">
              <a:rPr lang="it-IT" smtClean="0"/>
              <a:pPr/>
              <a:t>12</a:t>
            </a:fld>
            <a:endParaRPr lang="it-IT" dirty="0"/>
          </a:p>
        </p:txBody>
      </p:sp>
      <p:pic>
        <p:nvPicPr>
          <p:cNvPr id="5" name="Immagine 11" descr="Immagine che contiene Carattere, logo, Elementi grafici, testo&#10;&#10;Descrizione generata automaticamente">
            <a:extLst>
              <a:ext uri="{FF2B5EF4-FFF2-40B4-BE49-F238E27FC236}">
                <a16:creationId xmlns:a16="http://schemas.microsoft.com/office/drawing/2014/main" id="{EDAFD9B8-C9C6-B1F2-54ED-3541254C7E5E}"/>
              </a:ext>
            </a:extLst>
          </p:cNvPr>
          <p:cNvPicPr>
            <a:picLocks noChangeAspect="1"/>
          </p:cNvPicPr>
          <p:nvPr/>
        </p:nvPicPr>
        <p:blipFill>
          <a:blip r:embed="rId3"/>
          <a:stretch>
            <a:fillRect/>
          </a:stretch>
        </p:blipFill>
        <p:spPr>
          <a:xfrm>
            <a:off x="10269437" y="5912638"/>
            <a:ext cx="1704759" cy="863169"/>
          </a:xfrm>
          <a:prstGeom prst="rect">
            <a:avLst/>
          </a:prstGeom>
        </p:spPr>
      </p:pic>
      <p:sp>
        <p:nvSpPr>
          <p:cNvPr id="8" name="Content Placeholder 2">
            <a:extLst>
              <a:ext uri="{FF2B5EF4-FFF2-40B4-BE49-F238E27FC236}">
                <a16:creationId xmlns:a16="http://schemas.microsoft.com/office/drawing/2014/main" id="{EDB2B267-83E5-7DDD-FB36-DCFD8063275C}"/>
              </a:ext>
            </a:extLst>
          </p:cNvPr>
          <p:cNvSpPr txBox="1">
            <a:spLocks/>
          </p:cNvSpPr>
          <p:nvPr/>
        </p:nvSpPr>
        <p:spPr>
          <a:xfrm>
            <a:off x="217804" y="2999472"/>
            <a:ext cx="6290999" cy="4986775"/>
          </a:xfrm>
          <a:prstGeom prst="rect">
            <a:avLst/>
          </a:prstGeom>
        </p:spPr>
        <p:txBody>
          <a:bodyPr vert="horz" lIns="91440" tIns="45720" rIns="91440" bIns="45720" rtlCol="0" anchor="ctr">
            <a:normAutofit/>
          </a:bodyPr>
          <a:lstStyle>
            <a:lvl1pPr marL="182880" indent="-182880" algn="l" defTabSz="914400" rtl="0" eaLnBrk="1" latinLnBrk="0" hangingPunct="1">
              <a:lnSpc>
                <a:spcPct val="90000"/>
              </a:lnSpc>
              <a:spcBef>
                <a:spcPts val="1200"/>
              </a:spcBef>
              <a:buClr>
                <a:srgbClr val="00ADCF"/>
              </a:buClr>
              <a:buFont typeface="Wingdings 2" pitchFamily="18" charset="2"/>
              <a:buChar char=""/>
              <a:defRPr sz="20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1pPr>
            <a:lvl2pPr marL="685800" indent="-182880" algn="l" defTabSz="914400" rtl="0" eaLnBrk="1" latinLnBrk="0" hangingPunct="1">
              <a:lnSpc>
                <a:spcPct val="90000"/>
              </a:lnSpc>
              <a:spcBef>
                <a:spcPts val="250"/>
              </a:spcBef>
              <a:spcAft>
                <a:spcPts val="250"/>
              </a:spcAft>
              <a:buClr>
                <a:srgbClr val="00ADCF"/>
              </a:buClr>
              <a:buFont typeface="Wingdings 2" pitchFamily="18" charset="2"/>
              <a:buChar char=""/>
              <a:defRPr sz="18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2pPr>
            <a:lvl3pPr marL="1143000" indent="-182880" algn="l" defTabSz="914400" rtl="0" eaLnBrk="1" latinLnBrk="0" hangingPunct="1">
              <a:lnSpc>
                <a:spcPct val="90000"/>
              </a:lnSpc>
              <a:spcBef>
                <a:spcPts val="250"/>
              </a:spcBef>
              <a:spcAft>
                <a:spcPts val="250"/>
              </a:spcAft>
              <a:buClr>
                <a:srgbClr val="00ADCF"/>
              </a:buClr>
              <a:buFont typeface="Wingdings 2" pitchFamily="18" charset="2"/>
              <a:buChar char=""/>
              <a:defRPr sz="16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3pPr>
            <a:lvl4pPr marL="1600200" indent="-182880" algn="l" defTabSz="914400" rtl="0" eaLnBrk="1" latinLnBrk="0" hangingPunct="1">
              <a:lnSpc>
                <a:spcPct val="90000"/>
              </a:lnSpc>
              <a:spcBef>
                <a:spcPts val="250"/>
              </a:spcBef>
              <a:spcAft>
                <a:spcPts val="250"/>
              </a:spcAft>
              <a:buClr>
                <a:srgbClr val="00ADCF"/>
              </a:buClr>
              <a:buFont typeface="Wingdings 2" pitchFamily="18" charset="2"/>
              <a:buChar char=""/>
              <a:defRPr sz="14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4pPr>
            <a:lvl5pPr marL="2057400" indent="-182880" algn="l" defTabSz="914400" rtl="0" eaLnBrk="1" latinLnBrk="0" hangingPunct="1">
              <a:lnSpc>
                <a:spcPct val="90000"/>
              </a:lnSpc>
              <a:spcBef>
                <a:spcPts val="250"/>
              </a:spcBef>
              <a:spcAft>
                <a:spcPts val="250"/>
              </a:spcAft>
              <a:buClr>
                <a:srgbClr val="00ADCF"/>
              </a:buClr>
              <a:buFont typeface="Wingdings 2" pitchFamily="18" charset="2"/>
              <a:buChar char=""/>
              <a:defRPr sz="14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dirty="0"/>
              <a:t>Llama 3 released on April 18</a:t>
            </a:r>
            <a:r>
              <a:rPr lang="en-US" baseline="30000" dirty="0"/>
              <a:t>th</a:t>
            </a:r>
          </a:p>
          <a:p>
            <a:r>
              <a:rPr lang="en-US" dirty="0"/>
              <a:t>8B Model almost as good as Llama 2 70B</a:t>
            </a:r>
          </a:p>
          <a:p>
            <a:r>
              <a:rPr lang="en-US" dirty="0"/>
              <a:t>70B Model better than Claude 3 Sonnet</a:t>
            </a:r>
          </a:p>
          <a:p>
            <a:r>
              <a:rPr lang="en-US" b="1" dirty="0"/>
              <a:t>400B Model currently under training!</a:t>
            </a:r>
          </a:p>
          <a:p>
            <a:endParaRPr lang="en-US" sz="2100" baseline="30000" dirty="0"/>
          </a:p>
        </p:txBody>
      </p:sp>
    </p:spTree>
    <p:extLst>
      <p:ext uri="{BB962C8B-B14F-4D97-AF65-F5344CB8AC3E}">
        <p14:creationId xmlns:p14="http://schemas.microsoft.com/office/powerpoint/2010/main" val="1560048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2B2C9-EF7A-0CE1-F1E2-1CA1BD038117}"/>
              </a:ext>
            </a:extLst>
          </p:cNvPr>
          <p:cNvSpPr>
            <a:spLocks noGrp="1"/>
          </p:cNvSpPr>
          <p:nvPr>
            <p:ph type="title"/>
          </p:nvPr>
        </p:nvSpPr>
        <p:spPr/>
        <p:txBody>
          <a:bodyPr/>
          <a:lstStyle/>
          <a:p>
            <a:r>
              <a:rPr lang="en-US" dirty="0"/>
              <a:t>Llama 3 benchmark</a:t>
            </a:r>
          </a:p>
        </p:txBody>
      </p:sp>
      <p:sp>
        <p:nvSpPr>
          <p:cNvPr id="4" name="Slide Number Placeholder 3">
            <a:extLst>
              <a:ext uri="{FF2B5EF4-FFF2-40B4-BE49-F238E27FC236}">
                <a16:creationId xmlns:a16="http://schemas.microsoft.com/office/drawing/2014/main" id="{60211448-B075-D775-F1CB-14913FDD4854}"/>
              </a:ext>
            </a:extLst>
          </p:cNvPr>
          <p:cNvSpPr>
            <a:spLocks noGrp="1"/>
          </p:cNvSpPr>
          <p:nvPr>
            <p:ph type="sldNum" sz="quarter" idx="4"/>
          </p:nvPr>
        </p:nvSpPr>
        <p:spPr/>
        <p:txBody>
          <a:bodyPr/>
          <a:lstStyle/>
          <a:p>
            <a:fld id="{0E40EB1B-F5EF-4BD9-BEF0-8FDE7FEF3ED8}" type="slidenum">
              <a:rPr lang="it-IT" smtClean="0"/>
              <a:pPr/>
              <a:t>13</a:t>
            </a:fld>
            <a:endParaRPr lang="it-IT" dirty="0"/>
          </a:p>
        </p:txBody>
      </p:sp>
      <p:pic>
        <p:nvPicPr>
          <p:cNvPr id="5" name="Immagine 11" descr="Immagine che contiene Carattere, logo, Elementi grafici, testo&#10;&#10;Descrizione generata automaticamente">
            <a:extLst>
              <a:ext uri="{FF2B5EF4-FFF2-40B4-BE49-F238E27FC236}">
                <a16:creationId xmlns:a16="http://schemas.microsoft.com/office/drawing/2014/main" id="{EDAFD9B8-C9C6-B1F2-54ED-3541254C7E5E}"/>
              </a:ext>
            </a:extLst>
          </p:cNvPr>
          <p:cNvPicPr>
            <a:picLocks noChangeAspect="1"/>
          </p:cNvPicPr>
          <p:nvPr/>
        </p:nvPicPr>
        <p:blipFill>
          <a:blip r:embed="rId3"/>
          <a:stretch>
            <a:fillRect/>
          </a:stretch>
        </p:blipFill>
        <p:spPr>
          <a:xfrm>
            <a:off x="10269437" y="5912638"/>
            <a:ext cx="1704759" cy="863169"/>
          </a:xfrm>
          <a:prstGeom prst="rect">
            <a:avLst/>
          </a:prstGeom>
        </p:spPr>
      </p:pic>
      <p:sp>
        <p:nvSpPr>
          <p:cNvPr id="8" name="Content Placeholder 2">
            <a:extLst>
              <a:ext uri="{FF2B5EF4-FFF2-40B4-BE49-F238E27FC236}">
                <a16:creationId xmlns:a16="http://schemas.microsoft.com/office/drawing/2014/main" id="{EDB2B267-83E5-7DDD-FB36-DCFD8063275C}"/>
              </a:ext>
            </a:extLst>
          </p:cNvPr>
          <p:cNvSpPr txBox="1">
            <a:spLocks/>
          </p:cNvSpPr>
          <p:nvPr/>
        </p:nvSpPr>
        <p:spPr>
          <a:xfrm>
            <a:off x="334005" y="1828415"/>
            <a:ext cx="4542795" cy="2325686"/>
          </a:xfrm>
          <a:prstGeom prst="rect">
            <a:avLst/>
          </a:prstGeom>
        </p:spPr>
        <p:txBody>
          <a:bodyPr vert="horz" lIns="91440" tIns="45720" rIns="91440" bIns="45720" rtlCol="0" anchor="ctr">
            <a:normAutofit/>
          </a:bodyPr>
          <a:lstStyle>
            <a:lvl1pPr marL="182880" indent="-182880" algn="l" defTabSz="914400" rtl="0" eaLnBrk="1" latinLnBrk="0" hangingPunct="1">
              <a:lnSpc>
                <a:spcPct val="90000"/>
              </a:lnSpc>
              <a:spcBef>
                <a:spcPts val="1200"/>
              </a:spcBef>
              <a:buClr>
                <a:srgbClr val="00ADCF"/>
              </a:buClr>
              <a:buFont typeface="Wingdings 2" pitchFamily="18" charset="2"/>
              <a:buChar char=""/>
              <a:defRPr sz="20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1pPr>
            <a:lvl2pPr marL="685800" indent="-182880" algn="l" defTabSz="914400" rtl="0" eaLnBrk="1" latinLnBrk="0" hangingPunct="1">
              <a:lnSpc>
                <a:spcPct val="90000"/>
              </a:lnSpc>
              <a:spcBef>
                <a:spcPts val="250"/>
              </a:spcBef>
              <a:spcAft>
                <a:spcPts val="250"/>
              </a:spcAft>
              <a:buClr>
                <a:srgbClr val="00ADCF"/>
              </a:buClr>
              <a:buFont typeface="Wingdings 2" pitchFamily="18" charset="2"/>
              <a:buChar char=""/>
              <a:defRPr sz="18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2pPr>
            <a:lvl3pPr marL="1143000" indent="-182880" algn="l" defTabSz="914400" rtl="0" eaLnBrk="1" latinLnBrk="0" hangingPunct="1">
              <a:lnSpc>
                <a:spcPct val="90000"/>
              </a:lnSpc>
              <a:spcBef>
                <a:spcPts val="250"/>
              </a:spcBef>
              <a:spcAft>
                <a:spcPts val="250"/>
              </a:spcAft>
              <a:buClr>
                <a:srgbClr val="00ADCF"/>
              </a:buClr>
              <a:buFont typeface="Wingdings 2" pitchFamily="18" charset="2"/>
              <a:buChar char=""/>
              <a:defRPr sz="16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3pPr>
            <a:lvl4pPr marL="1600200" indent="-182880" algn="l" defTabSz="914400" rtl="0" eaLnBrk="1" latinLnBrk="0" hangingPunct="1">
              <a:lnSpc>
                <a:spcPct val="90000"/>
              </a:lnSpc>
              <a:spcBef>
                <a:spcPts val="250"/>
              </a:spcBef>
              <a:spcAft>
                <a:spcPts val="250"/>
              </a:spcAft>
              <a:buClr>
                <a:srgbClr val="00ADCF"/>
              </a:buClr>
              <a:buFont typeface="Wingdings 2" pitchFamily="18" charset="2"/>
              <a:buChar char=""/>
              <a:defRPr sz="14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4pPr>
            <a:lvl5pPr marL="2057400" indent="-182880" algn="l" defTabSz="914400" rtl="0" eaLnBrk="1" latinLnBrk="0" hangingPunct="1">
              <a:lnSpc>
                <a:spcPct val="90000"/>
              </a:lnSpc>
              <a:spcBef>
                <a:spcPts val="250"/>
              </a:spcBef>
              <a:spcAft>
                <a:spcPts val="250"/>
              </a:spcAft>
              <a:buClr>
                <a:srgbClr val="00ADCF"/>
              </a:buClr>
              <a:buFont typeface="Wingdings 2" pitchFamily="18" charset="2"/>
              <a:buChar char=""/>
              <a:defRPr sz="14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sz="2400" baseline="30000" dirty="0"/>
              <a:t>MMLU = Multiple Choice on many subjects</a:t>
            </a:r>
          </a:p>
          <a:p>
            <a:r>
              <a:rPr lang="en-US" sz="2400" baseline="30000" dirty="0" err="1"/>
              <a:t>Humaneval</a:t>
            </a:r>
            <a:r>
              <a:rPr lang="en-US" sz="2400" baseline="30000" dirty="0"/>
              <a:t> = Generate Python code</a:t>
            </a:r>
          </a:p>
          <a:p>
            <a:r>
              <a:rPr lang="en-US" sz="2400" baseline="30000" dirty="0"/>
              <a:t>GSM8K = 8th grade level math questions</a:t>
            </a:r>
          </a:p>
        </p:txBody>
      </p:sp>
      <p:pic>
        <p:nvPicPr>
          <p:cNvPr id="12" name="Content Placeholder 11">
            <a:extLst>
              <a:ext uri="{FF2B5EF4-FFF2-40B4-BE49-F238E27FC236}">
                <a16:creationId xmlns:a16="http://schemas.microsoft.com/office/drawing/2014/main" id="{2CA37C85-94F5-7483-A824-BA4D4C90B2B3}"/>
              </a:ext>
            </a:extLst>
          </p:cNvPr>
          <p:cNvPicPr>
            <a:picLocks noGrp="1" noChangeAspect="1"/>
          </p:cNvPicPr>
          <p:nvPr>
            <p:ph idx="1"/>
          </p:nvPr>
        </p:nvPicPr>
        <p:blipFill>
          <a:blip r:embed="rId4"/>
          <a:stretch>
            <a:fillRect/>
          </a:stretch>
        </p:blipFill>
        <p:spPr>
          <a:xfrm>
            <a:off x="4876800" y="134128"/>
            <a:ext cx="7315200" cy="4202348"/>
          </a:xfrm>
        </p:spPr>
      </p:pic>
      <p:pic>
        <p:nvPicPr>
          <p:cNvPr id="10" name="Picture 9">
            <a:extLst>
              <a:ext uri="{FF2B5EF4-FFF2-40B4-BE49-F238E27FC236}">
                <a16:creationId xmlns:a16="http://schemas.microsoft.com/office/drawing/2014/main" id="{51D3917A-957A-EF77-1E79-D8DE5DA963EF}"/>
              </a:ext>
            </a:extLst>
          </p:cNvPr>
          <p:cNvPicPr>
            <a:picLocks noChangeAspect="1"/>
          </p:cNvPicPr>
          <p:nvPr/>
        </p:nvPicPr>
        <p:blipFill>
          <a:blip r:embed="rId5"/>
          <a:stretch>
            <a:fillRect/>
          </a:stretch>
        </p:blipFill>
        <p:spPr>
          <a:xfrm>
            <a:off x="667405" y="4316016"/>
            <a:ext cx="6805450" cy="1172050"/>
          </a:xfrm>
          <a:prstGeom prst="rect">
            <a:avLst/>
          </a:prstGeom>
        </p:spPr>
      </p:pic>
      <p:pic>
        <p:nvPicPr>
          <p:cNvPr id="14" name="Picture 13">
            <a:extLst>
              <a:ext uri="{FF2B5EF4-FFF2-40B4-BE49-F238E27FC236}">
                <a16:creationId xmlns:a16="http://schemas.microsoft.com/office/drawing/2014/main" id="{91FC0886-26C9-D159-9A48-13B3572AC980}"/>
              </a:ext>
            </a:extLst>
          </p:cNvPr>
          <p:cNvPicPr>
            <a:picLocks noChangeAspect="1"/>
          </p:cNvPicPr>
          <p:nvPr/>
        </p:nvPicPr>
        <p:blipFill>
          <a:blip r:embed="rId6"/>
          <a:stretch>
            <a:fillRect/>
          </a:stretch>
        </p:blipFill>
        <p:spPr>
          <a:xfrm>
            <a:off x="789744" y="5488067"/>
            <a:ext cx="6567497" cy="1085582"/>
          </a:xfrm>
          <a:prstGeom prst="rect">
            <a:avLst/>
          </a:prstGeom>
        </p:spPr>
      </p:pic>
    </p:spTree>
    <p:extLst>
      <p:ext uri="{BB962C8B-B14F-4D97-AF65-F5344CB8AC3E}">
        <p14:creationId xmlns:p14="http://schemas.microsoft.com/office/powerpoint/2010/main" val="24224898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22267-B6C1-AC85-D454-8BD914A2C20A}"/>
              </a:ext>
            </a:extLst>
          </p:cNvPr>
          <p:cNvSpPr>
            <a:spLocks noGrp="1"/>
          </p:cNvSpPr>
          <p:nvPr>
            <p:ph type="title"/>
          </p:nvPr>
        </p:nvSpPr>
        <p:spPr/>
        <p:txBody>
          <a:bodyPr/>
          <a:lstStyle/>
          <a:p>
            <a:r>
              <a:rPr lang="en-US" dirty="0" err="1"/>
              <a:t>LLaMa</a:t>
            </a:r>
            <a:r>
              <a:rPr lang="en-US" dirty="0"/>
              <a:t> 2 Training</a:t>
            </a:r>
          </a:p>
        </p:txBody>
      </p:sp>
      <p:sp>
        <p:nvSpPr>
          <p:cNvPr id="4" name="Slide Number Placeholder 3">
            <a:extLst>
              <a:ext uri="{FF2B5EF4-FFF2-40B4-BE49-F238E27FC236}">
                <a16:creationId xmlns:a16="http://schemas.microsoft.com/office/drawing/2014/main" id="{A52B7881-F99C-0831-8998-CD61272C22B0}"/>
              </a:ext>
            </a:extLst>
          </p:cNvPr>
          <p:cNvSpPr>
            <a:spLocks noGrp="1"/>
          </p:cNvSpPr>
          <p:nvPr>
            <p:ph type="sldNum" sz="quarter" idx="4"/>
          </p:nvPr>
        </p:nvSpPr>
        <p:spPr/>
        <p:txBody>
          <a:bodyPr/>
          <a:lstStyle/>
          <a:p>
            <a:fld id="{0E40EB1B-F5EF-4BD9-BEF0-8FDE7FEF3ED8}" type="slidenum">
              <a:rPr lang="it-IT" smtClean="0"/>
              <a:pPr/>
              <a:t>14</a:t>
            </a:fld>
            <a:endParaRPr lang="it-IT" dirty="0"/>
          </a:p>
        </p:txBody>
      </p:sp>
      <p:pic>
        <p:nvPicPr>
          <p:cNvPr id="6" name="Picture 5">
            <a:extLst>
              <a:ext uri="{FF2B5EF4-FFF2-40B4-BE49-F238E27FC236}">
                <a16:creationId xmlns:a16="http://schemas.microsoft.com/office/drawing/2014/main" id="{2BEAAB4D-ACA7-B865-0B9D-013AAB48FA54}"/>
              </a:ext>
            </a:extLst>
          </p:cNvPr>
          <p:cNvPicPr>
            <a:picLocks noChangeAspect="1"/>
          </p:cNvPicPr>
          <p:nvPr/>
        </p:nvPicPr>
        <p:blipFill>
          <a:blip r:embed="rId2"/>
          <a:stretch>
            <a:fillRect/>
          </a:stretch>
        </p:blipFill>
        <p:spPr>
          <a:xfrm>
            <a:off x="1253070" y="967526"/>
            <a:ext cx="9685859" cy="4922947"/>
          </a:xfrm>
          <a:prstGeom prst="rect">
            <a:avLst/>
          </a:prstGeom>
        </p:spPr>
      </p:pic>
      <p:pic>
        <p:nvPicPr>
          <p:cNvPr id="5" name="Immagine 11" descr="Immagine che contiene Carattere, logo, Elementi grafici, testo&#10;&#10;Descrizione generata automaticamente">
            <a:extLst>
              <a:ext uri="{FF2B5EF4-FFF2-40B4-BE49-F238E27FC236}">
                <a16:creationId xmlns:a16="http://schemas.microsoft.com/office/drawing/2014/main" id="{61B28151-C8A0-C9B8-6EEF-FB68B99C2A6D}"/>
              </a:ext>
            </a:extLst>
          </p:cNvPr>
          <p:cNvPicPr>
            <a:picLocks noChangeAspect="1"/>
          </p:cNvPicPr>
          <p:nvPr/>
        </p:nvPicPr>
        <p:blipFill>
          <a:blip r:embed="rId3"/>
          <a:stretch>
            <a:fillRect/>
          </a:stretch>
        </p:blipFill>
        <p:spPr>
          <a:xfrm>
            <a:off x="10269437" y="5912638"/>
            <a:ext cx="1704759" cy="863169"/>
          </a:xfrm>
          <a:prstGeom prst="rect">
            <a:avLst/>
          </a:prstGeom>
        </p:spPr>
      </p:pic>
    </p:spTree>
    <p:extLst>
      <p:ext uri="{BB962C8B-B14F-4D97-AF65-F5344CB8AC3E}">
        <p14:creationId xmlns:p14="http://schemas.microsoft.com/office/powerpoint/2010/main" val="1694996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8D2DB-4A16-8BAD-36CD-E2FB542A8470}"/>
              </a:ext>
            </a:extLst>
          </p:cNvPr>
          <p:cNvSpPr>
            <a:spLocks noGrp="1"/>
          </p:cNvSpPr>
          <p:nvPr>
            <p:ph type="title"/>
          </p:nvPr>
        </p:nvSpPr>
        <p:spPr/>
        <p:txBody>
          <a:bodyPr/>
          <a:lstStyle/>
          <a:p>
            <a:r>
              <a:rPr lang="en-US" dirty="0"/>
              <a:t>Two always more distinct worlds</a:t>
            </a:r>
          </a:p>
        </p:txBody>
      </p:sp>
      <p:sp>
        <p:nvSpPr>
          <p:cNvPr id="3" name="Content Placeholder 2">
            <a:extLst>
              <a:ext uri="{FF2B5EF4-FFF2-40B4-BE49-F238E27FC236}">
                <a16:creationId xmlns:a16="http://schemas.microsoft.com/office/drawing/2014/main" id="{7565F7A4-9E3D-C8B9-8ED7-2C358066D63A}"/>
              </a:ext>
            </a:extLst>
          </p:cNvPr>
          <p:cNvSpPr>
            <a:spLocks noGrp="1"/>
          </p:cNvSpPr>
          <p:nvPr>
            <p:ph idx="1"/>
          </p:nvPr>
        </p:nvSpPr>
        <p:spPr/>
        <p:txBody>
          <a:bodyPr/>
          <a:lstStyle/>
          <a:p>
            <a:r>
              <a:rPr lang="en-US" sz="2800" dirty="0">
                <a:effectLst/>
                <a:latin typeface="Calibri" panose="020F0502020204030204" pitchFamily="34" charset="0"/>
              </a:rPr>
              <a:t>Difference between Optimization and Training</a:t>
            </a:r>
          </a:p>
        </p:txBody>
      </p:sp>
    </p:spTree>
    <p:extLst>
      <p:ext uri="{BB962C8B-B14F-4D97-AF65-F5344CB8AC3E}">
        <p14:creationId xmlns:p14="http://schemas.microsoft.com/office/powerpoint/2010/main" val="1135913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Quizzical burrowing owl looking forward">
            <a:extLst>
              <a:ext uri="{FF2B5EF4-FFF2-40B4-BE49-F238E27FC236}">
                <a16:creationId xmlns:a16="http://schemas.microsoft.com/office/drawing/2014/main" id="{B2A5D13F-9BC0-6801-0793-C1572993E763}"/>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4194" b="14871"/>
          <a:stretch/>
        </p:blipFill>
        <p:spPr>
          <a:xfrm>
            <a:off x="20" y="10"/>
            <a:ext cx="12191980" cy="6857990"/>
          </a:xfrm>
          <a:prstGeom prst="rect">
            <a:avLst/>
          </a:prstGeom>
        </p:spPr>
      </p:pic>
      <p:sp>
        <p:nvSpPr>
          <p:cNvPr id="4" name="Slide Number Placeholder 3">
            <a:extLst>
              <a:ext uri="{FF2B5EF4-FFF2-40B4-BE49-F238E27FC236}">
                <a16:creationId xmlns:a16="http://schemas.microsoft.com/office/drawing/2014/main" id="{5E78FD95-A649-5570-4CFE-09178E823BF6}"/>
              </a:ext>
            </a:extLst>
          </p:cNvPr>
          <p:cNvSpPr>
            <a:spLocks noGrp="1"/>
          </p:cNvSpPr>
          <p:nvPr>
            <p:ph type="sldNum" sz="quarter" idx="4"/>
          </p:nvPr>
        </p:nvSpPr>
        <p:spPr>
          <a:xfrm>
            <a:off x="10634135" y="6356350"/>
            <a:ext cx="1530927" cy="365125"/>
          </a:xfrm>
        </p:spPr>
        <p:txBody>
          <a:bodyPr vert="horz" lIns="91440" tIns="45720" rIns="91440" bIns="45720" rtlCol="0" anchor="ctr">
            <a:normAutofit/>
          </a:bodyPr>
          <a:lstStyle/>
          <a:p>
            <a:pPr algn="r">
              <a:spcAft>
                <a:spcPts val="600"/>
              </a:spcAft>
            </a:pPr>
            <a:fld id="{0E40EB1B-F5EF-4BD9-BEF0-8FDE7FEF3ED8}" type="slidenum">
              <a:rPr lang="en-US">
                <a:solidFill>
                  <a:srgbClr val="FFFFFF"/>
                </a:solidFill>
                <a:latin typeface="+mn-lt"/>
              </a:rPr>
              <a:pPr algn="r">
                <a:spcAft>
                  <a:spcPts val="600"/>
                </a:spcAft>
              </a:pPr>
              <a:t>16</a:t>
            </a:fld>
            <a:endParaRPr lang="en-US">
              <a:solidFill>
                <a:srgbClr val="FFFFFF"/>
              </a:solidFill>
              <a:latin typeface="+mn-lt"/>
            </a:endParaRPr>
          </a:p>
        </p:txBody>
      </p:sp>
      <p:sp>
        <p:nvSpPr>
          <p:cNvPr id="10" name="TextBox 9">
            <a:extLst>
              <a:ext uri="{FF2B5EF4-FFF2-40B4-BE49-F238E27FC236}">
                <a16:creationId xmlns:a16="http://schemas.microsoft.com/office/drawing/2014/main" id="{2577E8B8-C57E-7CFE-2980-6EEB4067E461}"/>
              </a:ext>
            </a:extLst>
          </p:cNvPr>
          <p:cNvSpPr txBox="1"/>
          <p:nvPr/>
        </p:nvSpPr>
        <p:spPr>
          <a:xfrm>
            <a:off x="8752114" y="588219"/>
            <a:ext cx="6183086" cy="707886"/>
          </a:xfrm>
          <a:prstGeom prst="rect">
            <a:avLst/>
          </a:prstGeom>
          <a:noFill/>
        </p:spPr>
        <p:txBody>
          <a:bodyPr wrap="square">
            <a:spAutoFit/>
          </a:bodyPr>
          <a:lstStyle/>
          <a:p>
            <a:r>
              <a:rPr lang="it-IT" sz="4000" b="1" dirty="0">
                <a:solidFill>
                  <a:srgbClr val="FFFFFF"/>
                </a:solidFill>
              </a:rPr>
              <a:t>Questions?</a:t>
            </a:r>
          </a:p>
        </p:txBody>
      </p:sp>
    </p:spTree>
    <p:extLst>
      <p:ext uri="{BB962C8B-B14F-4D97-AF65-F5344CB8AC3E}">
        <p14:creationId xmlns:p14="http://schemas.microsoft.com/office/powerpoint/2010/main" val="33884112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1">
            <a:extLst>
              <a:ext uri="{FF2B5EF4-FFF2-40B4-BE49-F238E27FC236}">
                <a16:creationId xmlns:a16="http://schemas.microsoft.com/office/drawing/2014/main" id="{BACBF21E-31AA-43A8-B9E4-C0C9E08A36F3}"/>
              </a:ext>
            </a:extLst>
          </p:cNvPr>
          <p:cNvSpPr txBox="1">
            <a:spLocks/>
          </p:cNvSpPr>
          <p:nvPr/>
        </p:nvSpPr>
        <p:spPr>
          <a:xfrm>
            <a:off x="1036892" y="1399447"/>
            <a:ext cx="5739498" cy="649288"/>
          </a:xfrm>
          <a:prstGeom prst="rect">
            <a:avLst/>
          </a:prstGeom>
        </p:spPr>
        <p:txBody>
          <a:bodyPr lIns="360000" rIns="90000" anchor="b"/>
          <a:lstStyle>
            <a:lvl1pPr algn="ctr" defTabSz="914400" rtl="0" eaLnBrk="1" latinLnBrk="0" hangingPunct="1">
              <a:lnSpc>
                <a:spcPct val="90000"/>
              </a:lnSpc>
              <a:spcBef>
                <a:spcPct val="0"/>
              </a:spcBef>
              <a:buNone/>
              <a:defRPr sz="6000" b="1" i="0" kern="1200">
                <a:solidFill>
                  <a:schemeClr val="tx1"/>
                </a:solidFill>
                <a:latin typeface="Montserrat SemiBold"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1800" b="1" i="0" u="none" strike="noStrike" kern="1200" cap="none" spc="0" normalizeH="0" baseline="0" noProof="0" dirty="0">
                <a:ln>
                  <a:noFill/>
                </a:ln>
                <a:solidFill>
                  <a:srgbClr val="1E2546">
                    <a:lumMod val="50000"/>
                  </a:srgbClr>
                </a:solidFill>
                <a:effectLst/>
                <a:uLnTx/>
                <a:uFillTx/>
                <a:latin typeface="Poppins" pitchFamily="2" charset="77"/>
                <a:ea typeface="+mj-ea"/>
                <a:cs typeface="Poppins" pitchFamily="2" charset="77"/>
              </a:rPr>
              <a:t>Seguici sui canali </a:t>
            </a:r>
            <a:r>
              <a:rPr kumimoji="0" lang="it-IT" sz="1800" b="1" i="0" u="none" strike="noStrike" kern="1200" cap="none" spc="0" normalizeH="0" baseline="0" noProof="0" dirty="0" err="1">
                <a:ln>
                  <a:noFill/>
                </a:ln>
                <a:solidFill>
                  <a:srgbClr val="1E2546">
                    <a:lumMod val="50000"/>
                  </a:srgbClr>
                </a:solidFill>
                <a:effectLst/>
                <a:uLnTx/>
                <a:uFillTx/>
                <a:latin typeface="Poppins" pitchFamily="2" charset="77"/>
                <a:ea typeface="+mj-ea"/>
                <a:cs typeface="Poppins" pitchFamily="2" charset="77"/>
              </a:rPr>
              <a:t>EuroCC</a:t>
            </a:r>
            <a:r>
              <a:rPr kumimoji="0" lang="it-IT" sz="1800" b="1" i="0" u="none" strike="noStrike" kern="1200" cap="none" spc="0" normalizeH="0" baseline="0" noProof="0" dirty="0">
                <a:ln>
                  <a:noFill/>
                </a:ln>
                <a:solidFill>
                  <a:srgbClr val="1E2546">
                    <a:lumMod val="50000"/>
                  </a:srgbClr>
                </a:solidFill>
                <a:effectLst/>
                <a:uLnTx/>
                <a:uFillTx/>
                <a:latin typeface="Poppins" pitchFamily="2" charset="77"/>
                <a:ea typeface="+mj-ea"/>
                <a:cs typeface="Poppins" pitchFamily="2" charset="77"/>
              </a:rPr>
              <a:t> </a:t>
            </a:r>
            <a:r>
              <a:rPr kumimoji="0" lang="it-IT" sz="1800" b="1" i="0" u="none" strike="noStrike" kern="1200" cap="none" spc="0" normalizeH="0" baseline="0" noProof="0" dirty="0" err="1">
                <a:ln>
                  <a:noFill/>
                </a:ln>
                <a:solidFill>
                  <a:srgbClr val="1E2546">
                    <a:lumMod val="50000"/>
                  </a:srgbClr>
                </a:solidFill>
                <a:effectLst/>
                <a:uLnTx/>
                <a:uFillTx/>
                <a:latin typeface="Poppins" pitchFamily="2" charset="77"/>
                <a:ea typeface="+mj-ea"/>
                <a:cs typeface="Poppins" pitchFamily="2" charset="77"/>
              </a:rPr>
              <a:t>Italy</a:t>
            </a:r>
            <a:endParaRPr kumimoji="0" lang="it-IT" sz="1800" b="0" i="0" u="none" strike="noStrike" kern="1200" cap="none" spc="0" normalizeH="0" baseline="0" noProof="0" dirty="0">
              <a:ln>
                <a:noFill/>
              </a:ln>
              <a:solidFill>
                <a:srgbClr val="20284B"/>
              </a:solidFill>
              <a:effectLst/>
              <a:uLnTx/>
              <a:uFillTx/>
              <a:latin typeface="Montserrat SemiBold" pitchFamily="2" charset="77"/>
              <a:ea typeface="+mj-ea"/>
              <a:cs typeface="+mj-cs"/>
            </a:endParaRPr>
          </a:p>
        </p:txBody>
      </p:sp>
      <p:pic>
        <p:nvPicPr>
          <p:cNvPr id="8" name="Bild 17" descr="co-funded-h2020-horiz_en.eps">
            <a:extLst>
              <a:ext uri="{FF2B5EF4-FFF2-40B4-BE49-F238E27FC236}">
                <a16:creationId xmlns:a16="http://schemas.microsoft.com/office/drawing/2014/main" id="{8D0F21D9-D011-47A1-A5FC-0DF92775B610}"/>
              </a:ext>
            </a:extLst>
          </p:cNvPr>
          <p:cNvPicPr>
            <a:picLocks noChangeAspect="1"/>
          </p:cNvPicPr>
          <p:nvPr/>
        </p:nvPicPr>
        <p:blipFill rotWithShape="1">
          <a:blip r:embed="rId3">
            <a:extLst>
              <a:ext uri="{28A0092B-C50C-407E-A947-70E740481C1C}">
                <a14:useLocalDpi xmlns:a14="http://schemas.microsoft.com/office/drawing/2010/main" val="0"/>
              </a:ext>
            </a:extLst>
          </a:blip>
          <a:srcRect r="71258"/>
          <a:stretch/>
        </p:blipFill>
        <p:spPr>
          <a:xfrm>
            <a:off x="7257444" y="3734391"/>
            <a:ext cx="1445786" cy="890779"/>
          </a:xfrm>
          <a:prstGeom prst="rect">
            <a:avLst/>
          </a:prstGeom>
        </p:spPr>
      </p:pic>
      <p:sp>
        <p:nvSpPr>
          <p:cNvPr id="9" name="Textfeld 1">
            <a:extLst>
              <a:ext uri="{FF2B5EF4-FFF2-40B4-BE49-F238E27FC236}">
                <a16:creationId xmlns:a16="http://schemas.microsoft.com/office/drawing/2014/main" id="{FE2EBA05-71A1-453F-A1C0-AE29B352D16D}"/>
              </a:ext>
            </a:extLst>
          </p:cNvPr>
          <p:cNvSpPr txBox="1"/>
          <p:nvPr/>
        </p:nvSpPr>
        <p:spPr>
          <a:xfrm>
            <a:off x="642938" y="4625171"/>
            <a:ext cx="11069686" cy="149271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1E2546">
                    <a:lumMod val="50000"/>
                  </a:srgbClr>
                </a:solidFill>
                <a:effectLst/>
                <a:uLnTx/>
                <a:uFillTx/>
                <a:latin typeface="Poppins" pitchFamily="2" charset="77"/>
                <a:ea typeface="+mn-ea"/>
                <a:cs typeface="Poppins" pitchFamily="2" charset="77"/>
              </a:rPr>
              <a:t>Co-funded by the European Union. This work has received funding from the European High Performance Computing Joint Undertaking (JU) and Germany, Bulgaria, Austria, Croatia, Cyprus, Czech Republic, Denmark, Estonia, Finland, Greece, Hungary, Ireland, Italy, Lithuania, Latvia, Poland, Portugal, Romania, Slovenia, Spain, Sweden, France, Netherlands, Belgium, Luxembourg, Slovakia, Norway, Türkiye, Republic of North Macedonia, Iceland, Montenegro, Serbia under grant agreement No 101101903.</a:t>
            </a:r>
            <a:endParaRPr kumimoji="0" lang="it-IT" sz="1500" b="0" i="0" u="none" strike="noStrike" kern="1200" cap="none" spc="0" normalizeH="0" baseline="0" noProof="0" dirty="0">
              <a:ln>
                <a:noFill/>
              </a:ln>
              <a:solidFill>
                <a:srgbClr val="1E2546">
                  <a:lumMod val="50000"/>
                </a:srgbClr>
              </a:solidFill>
              <a:effectLst/>
              <a:uLnTx/>
              <a:uFillTx/>
              <a:latin typeface="Poppins" pitchFamily="2" charset="77"/>
              <a:ea typeface="+mn-ea"/>
              <a:cs typeface="Poppins" pitchFamily="2" charset="77"/>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1E2546"/>
                </a:solidFill>
                <a:effectLst/>
                <a:uLnTx/>
                <a:uFillTx/>
                <a:latin typeface="Montserrat Medium" panose="00000600000000000000" pitchFamily="2" charset="0"/>
                <a:ea typeface="+mn-ea"/>
                <a:cs typeface="+mn-cs"/>
              </a:rPr>
              <a:t>&lt;&lt;&lt;&lt;&lt;&lt;&lt;&lt;&lt;&lt;</a:t>
            </a:r>
          </a:p>
        </p:txBody>
      </p:sp>
      <p:pic>
        <p:nvPicPr>
          <p:cNvPr id="10" name="Bild 7" descr="EuroHPC_JU_logo.jpg">
            <a:extLst>
              <a:ext uri="{FF2B5EF4-FFF2-40B4-BE49-F238E27FC236}">
                <a16:creationId xmlns:a16="http://schemas.microsoft.com/office/drawing/2014/main" id="{FD32B44A-60A6-45E3-B50E-859AB11F6CEC}"/>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69962" y="3734392"/>
            <a:ext cx="2479100" cy="890779"/>
          </a:xfrm>
          <a:prstGeom prst="rect">
            <a:avLst/>
          </a:prstGeom>
        </p:spPr>
      </p:pic>
      <p:pic>
        <p:nvPicPr>
          <p:cNvPr id="5" name="Immagine 4">
            <a:extLst>
              <a:ext uri="{FF2B5EF4-FFF2-40B4-BE49-F238E27FC236}">
                <a16:creationId xmlns:a16="http://schemas.microsoft.com/office/drawing/2014/main" id="{A2B8AAEA-10C9-CD2F-2D77-D528735080F0}"/>
              </a:ext>
            </a:extLst>
          </p:cNvPr>
          <p:cNvPicPr>
            <a:picLocks noChangeAspect="1"/>
          </p:cNvPicPr>
          <p:nvPr/>
        </p:nvPicPr>
        <p:blipFill rotWithShape="1">
          <a:blip r:embed="rId5"/>
          <a:srcRect l="41645" t="51812" r="51110" b="32846"/>
          <a:stretch/>
        </p:blipFill>
        <p:spPr>
          <a:xfrm>
            <a:off x="5326180" y="2269844"/>
            <a:ext cx="883227" cy="1052093"/>
          </a:xfrm>
          <a:prstGeom prst="rect">
            <a:avLst/>
          </a:prstGeom>
        </p:spPr>
      </p:pic>
      <p:sp>
        <p:nvSpPr>
          <p:cNvPr id="7" name="ee4pContent1">
            <a:extLst>
              <a:ext uri="{FF2B5EF4-FFF2-40B4-BE49-F238E27FC236}">
                <a16:creationId xmlns:a16="http://schemas.microsoft.com/office/drawing/2014/main" id="{9758D9F3-614E-3FD2-9D8A-3CA49D272383}"/>
              </a:ext>
            </a:extLst>
          </p:cNvPr>
          <p:cNvSpPr txBox="1">
            <a:spLocks/>
          </p:cNvSpPr>
          <p:nvPr>
            <p:custDataLst>
              <p:tags r:id="rId1"/>
            </p:custDataLst>
          </p:nvPr>
        </p:nvSpPr>
        <p:spPr>
          <a:xfrm>
            <a:off x="5949641" y="1689838"/>
            <a:ext cx="3402806" cy="499830"/>
          </a:xfrm>
          <a:prstGeom prst="rect">
            <a:avLst/>
          </a:prstGeom>
          <a:no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marR="0" lvl="1" indent="0" algn="l" defTabSz="914400" rtl="0" eaLnBrk="1" fontAlgn="auto" latinLnBrk="0" hangingPunct="1">
              <a:lnSpc>
                <a:spcPct val="100000"/>
              </a:lnSpc>
              <a:spcBef>
                <a:spcPct val="30000"/>
              </a:spcBef>
              <a:spcAft>
                <a:spcPts val="0"/>
              </a:spcAft>
              <a:buClr>
                <a:srgbClr val="20284B"/>
              </a:buClr>
              <a:buSzTx/>
              <a:buFont typeface="Wingdings" panose="05000000000000000000" pitchFamily="2" charset="2"/>
              <a:buNone/>
              <a:tabLst/>
              <a:defRPr/>
            </a:pPr>
            <a:r>
              <a:rPr kumimoji="0" lang="en-US" sz="1600" b="1" i="0" u="none" strike="noStrike" kern="1200" cap="none" spc="0" normalizeH="0" baseline="0" noProof="0" dirty="0">
                <a:ln>
                  <a:noFill/>
                </a:ln>
                <a:solidFill>
                  <a:srgbClr val="CCAC1F"/>
                </a:solidFill>
                <a:effectLst/>
                <a:uLnTx/>
                <a:uFillTx/>
                <a:latin typeface="OpenSans-Regular"/>
                <a:ea typeface="+mn-ea"/>
                <a:cs typeface="Arial" panose="020B0604020202020204" pitchFamily="34" charset="0"/>
                <a:hlinkClick r:id="">
                  <a:extLst>
                    <a:ext uri="{A12FA001-AC4F-418D-AE19-62706E023703}">
                      <ahyp:hlinkClr xmlns:ahyp="http://schemas.microsoft.com/office/drawing/2018/hyperlinkcolor" val="tx"/>
                    </a:ext>
                  </a:extLst>
                </a:hlinkClick>
              </a:rPr>
              <a:t>Sito web www.euroccitaly.it</a:t>
            </a:r>
          </a:p>
          <a:p>
            <a:pPr marL="0" marR="0" lvl="1" indent="0" algn="l" defTabSz="914400" rtl="0" eaLnBrk="1" fontAlgn="auto" latinLnBrk="0" hangingPunct="1">
              <a:lnSpc>
                <a:spcPct val="100000"/>
              </a:lnSpc>
              <a:spcBef>
                <a:spcPct val="30000"/>
              </a:spcBef>
              <a:spcAft>
                <a:spcPts val="0"/>
              </a:spcAft>
              <a:buClr>
                <a:srgbClr val="20284B"/>
              </a:buClr>
              <a:buSzTx/>
              <a:buFont typeface="Wingdings" panose="05000000000000000000" pitchFamily="2" charset="2"/>
              <a:buNone/>
              <a:tabLst/>
              <a:defRPr/>
            </a:pPr>
            <a:endParaRPr kumimoji="0" lang="en-US" sz="1600" b="1" i="0" u="none" strike="noStrike" kern="1200" cap="none" spc="0" normalizeH="0" baseline="0" noProof="0" dirty="0">
              <a:ln>
                <a:noFill/>
              </a:ln>
              <a:solidFill>
                <a:srgbClr val="CCAC1F"/>
              </a:solidFill>
              <a:effectLst/>
              <a:uLnTx/>
              <a:uFillTx/>
              <a:latin typeface="OpenSans-Regular"/>
              <a:ea typeface="+mn-ea"/>
              <a:cs typeface="Arial" panose="020B0604020202020204" pitchFamily="34" charset="0"/>
              <a:hlinkClick r:id="">
                <a:extLst>
                  <a:ext uri="{A12FA001-AC4F-418D-AE19-62706E023703}">
                    <ahyp:hlinkClr xmlns:ahyp="http://schemas.microsoft.com/office/drawing/2018/hyperlinkcolor" val="tx"/>
                  </a:ext>
                </a:extLst>
              </a:hlinkClick>
            </a:endParaRPr>
          </a:p>
          <a:p>
            <a:pPr marL="0" marR="0" lvl="1" indent="0" algn="l" defTabSz="914400" rtl="0" eaLnBrk="1" fontAlgn="auto" latinLnBrk="0" hangingPunct="1">
              <a:lnSpc>
                <a:spcPct val="100000"/>
              </a:lnSpc>
              <a:spcBef>
                <a:spcPct val="30000"/>
              </a:spcBef>
              <a:spcAft>
                <a:spcPts val="0"/>
              </a:spcAft>
              <a:buClr>
                <a:srgbClr val="20284B"/>
              </a:buClr>
              <a:buSzTx/>
              <a:buFont typeface="Wingdings" panose="05000000000000000000" pitchFamily="2" charset="2"/>
              <a:buNone/>
              <a:tabLst/>
              <a:defRPr/>
            </a:pPr>
            <a:r>
              <a:rPr kumimoji="0" lang="en-US" sz="1600" b="1" i="0" u="none" strike="noStrike" kern="1200" cap="none" spc="0" normalizeH="0" baseline="0" noProof="0" dirty="0" err="1">
                <a:ln>
                  <a:noFill/>
                </a:ln>
                <a:solidFill>
                  <a:srgbClr val="CCAC1F"/>
                </a:solidFill>
                <a:effectLst/>
                <a:uLnTx/>
                <a:uFillTx/>
                <a:latin typeface="OpenSans-Regular"/>
                <a:ea typeface="+mn-ea"/>
                <a:cs typeface="Arial" panose="020B0604020202020204" pitchFamily="34" charset="0"/>
                <a:hlinkClick r:id="rId6">
                  <a:extLst>
                    <a:ext uri="{A12FA001-AC4F-418D-AE19-62706E023703}">
                      <ahyp:hlinkClr xmlns:ahyp="http://schemas.microsoft.com/office/drawing/2018/hyperlinkcolor" val="tx"/>
                    </a:ext>
                  </a:extLst>
                </a:hlinkClick>
              </a:rPr>
              <a:t>LinkedIN</a:t>
            </a:r>
            <a:br>
              <a:rPr kumimoji="0" lang="en-US" sz="1600" b="1" i="0" u="none" strike="noStrike" kern="1200" cap="none" spc="0" normalizeH="0" baseline="0" noProof="0" dirty="0">
                <a:ln>
                  <a:noFill/>
                </a:ln>
                <a:solidFill>
                  <a:srgbClr val="1E2546">
                    <a:lumMod val="50000"/>
                  </a:srgbClr>
                </a:solidFill>
                <a:effectLst/>
                <a:uLnTx/>
                <a:uFillTx/>
                <a:latin typeface="OpenSans-Regular"/>
                <a:ea typeface="+mn-ea"/>
                <a:cs typeface="Arial" panose="020B0604020202020204" pitchFamily="34" charset="0"/>
              </a:rPr>
            </a:br>
            <a:endParaRPr kumimoji="0" lang="en-US" sz="1600" b="1" i="0" u="none" strike="noStrike" kern="1200" cap="none" spc="0" normalizeH="0" baseline="0" noProof="0" dirty="0">
              <a:ln>
                <a:noFill/>
              </a:ln>
              <a:solidFill>
                <a:srgbClr val="1E2546">
                  <a:lumMod val="50000"/>
                </a:srgbClr>
              </a:solidFill>
              <a:effectLst/>
              <a:uLnTx/>
              <a:uFillTx/>
              <a:latin typeface="OpenSans-Regular"/>
              <a:ea typeface="+mn-ea"/>
              <a:cs typeface="Arial" panose="020B0604020202020204" pitchFamily="34" charset="0"/>
            </a:endParaRPr>
          </a:p>
          <a:p>
            <a:pPr marL="0" marR="0" lvl="1" indent="0" algn="l" defTabSz="914400" rtl="0" eaLnBrk="1" fontAlgn="auto" latinLnBrk="0" hangingPunct="1">
              <a:lnSpc>
                <a:spcPct val="100000"/>
              </a:lnSpc>
              <a:spcBef>
                <a:spcPct val="30000"/>
              </a:spcBef>
              <a:spcAft>
                <a:spcPts val="0"/>
              </a:spcAft>
              <a:buClr>
                <a:srgbClr val="20284B"/>
              </a:buClr>
              <a:buSzTx/>
              <a:buFont typeface="Wingdings" panose="05000000000000000000" pitchFamily="2" charset="2"/>
              <a:buNone/>
              <a:tabLst/>
              <a:defRPr/>
            </a:pPr>
            <a:r>
              <a:rPr kumimoji="0" lang="en-US" sz="1600" b="1" i="0" u="none" strike="noStrike" kern="1200" cap="none" spc="0" normalizeH="0" baseline="0" noProof="0" dirty="0">
                <a:ln>
                  <a:noFill/>
                </a:ln>
                <a:solidFill>
                  <a:srgbClr val="CCAC1F"/>
                </a:solidFill>
                <a:effectLst/>
                <a:uLnTx/>
                <a:uFillTx/>
                <a:latin typeface="OpenSans-Regular"/>
                <a:ea typeface="+mn-ea"/>
                <a:cs typeface="Arial" panose="020B0604020202020204" pitchFamily="34" charset="0"/>
                <a:hlinkClick r:id="rId7">
                  <a:extLst>
                    <a:ext uri="{A12FA001-AC4F-418D-AE19-62706E023703}">
                      <ahyp:hlinkClr xmlns:ahyp="http://schemas.microsoft.com/office/drawing/2018/hyperlinkcolor" val="tx"/>
                    </a:ext>
                  </a:extLst>
                </a:hlinkClick>
              </a:rPr>
              <a:t>YouTube</a:t>
            </a:r>
            <a:br>
              <a:rPr kumimoji="0" lang="en-US" sz="1600" b="0" i="0" u="none" strike="noStrike" kern="1200" cap="none" spc="0" normalizeH="0" baseline="0" noProof="0" dirty="0">
                <a:ln>
                  <a:noFill/>
                </a:ln>
                <a:solidFill>
                  <a:srgbClr val="1E2546">
                    <a:lumMod val="50000"/>
                  </a:srgbClr>
                </a:solidFill>
                <a:effectLst/>
                <a:uLnTx/>
                <a:uFillTx/>
                <a:latin typeface="OpenSans-Regular"/>
                <a:ea typeface="+mn-ea"/>
                <a:cs typeface="Arial" panose="020B0604020202020204" pitchFamily="34" charset="0"/>
              </a:rPr>
            </a:br>
            <a:br>
              <a:rPr kumimoji="0" lang="en-US" sz="1600" b="0" i="0" u="none" strike="noStrike" kern="1200" cap="none" spc="0" normalizeH="0" baseline="0" noProof="0" dirty="0">
                <a:ln>
                  <a:noFill/>
                </a:ln>
                <a:solidFill>
                  <a:srgbClr val="1E2546">
                    <a:lumMod val="50000"/>
                  </a:srgbClr>
                </a:solidFill>
                <a:effectLst/>
                <a:uLnTx/>
                <a:uFillTx/>
                <a:latin typeface="OpenSans-Regular"/>
                <a:ea typeface="+mn-ea"/>
                <a:cs typeface="Arial" panose="020B0604020202020204" pitchFamily="34" charset="0"/>
              </a:rPr>
            </a:br>
            <a:endParaRPr kumimoji="0" lang="en-US" sz="1400" b="0" i="0" u="none" strike="noStrike" kern="1200" cap="none" spc="0" normalizeH="0" baseline="0" noProof="0" dirty="0">
              <a:ln>
                <a:noFill/>
              </a:ln>
              <a:solidFill>
                <a:srgbClr val="00248A"/>
              </a:solidFill>
              <a:effectLst/>
              <a:uLnTx/>
              <a:uFillTx/>
              <a:latin typeface="OpenSans-Regular"/>
              <a:ea typeface="+mn-ea"/>
              <a:cs typeface="Arial" panose="020B0604020202020204" pitchFamily="34" charset="0"/>
            </a:endParaRPr>
          </a:p>
        </p:txBody>
      </p:sp>
      <p:cxnSp>
        <p:nvCxnSpPr>
          <p:cNvPr id="2" name="Connettore 1 3">
            <a:extLst>
              <a:ext uri="{FF2B5EF4-FFF2-40B4-BE49-F238E27FC236}">
                <a16:creationId xmlns:a16="http://schemas.microsoft.com/office/drawing/2014/main" id="{9B63340B-59A1-1A96-42CE-6335CB5E39A6}"/>
              </a:ext>
            </a:extLst>
          </p:cNvPr>
          <p:cNvCxnSpPr/>
          <p:nvPr/>
        </p:nvCxnSpPr>
        <p:spPr>
          <a:xfrm>
            <a:off x="0" y="644947"/>
            <a:ext cx="10604310" cy="0"/>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Connettore 1 4">
            <a:extLst>
              <a:ext uri="{FF2B5EF4-FFF2-40B4-BE49-F238E27FC236}">
                <a16:creationId xmlns:a16="http://schemas.microsoft.com/office/drawing/2014/main" id="{796C70D9-B93D-C94E-1409-3052E1D145BE}"/>
              </a:ext>
            </a:extLst>
          </p:cNvPr>
          <p:cNvCxnSpPr>
            <a:cxnSpLocks/>
          </p:cNvCxnSpPr>
          <p:nvPr/>
        </p:nvCxnSpPr>
        <p:spPr>
          <a:xfrm>
            <a:off x="7137779" y="6334836"/>
            <a:ext cx="5054221" cy="0"/>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ttangolo 10">
            <a:extLst>
              <a:ext uri="{FF2B5EF4-FFF2-40B4-BE49-F238E27FC236}">
                <a16:creationId xmlns:a16="http://schemas.microsoft.com/office/drawing/2014/main" id="{EBCEAC1F-7375-77B5-70AD-988D0B712230}"/>
              </a:ext>
            </a:extLst>
          </p:cNvPr>
          <p:cNvSpPr/>
          <p:nvPr/>
        </p:nvSpPr>
        <p:spPr>
          <a:xfrm>
            <a:off x="10099343" y="5745707"/>
            <a:ext cx="2092657" cy="11122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FFFFFF"/>
                </a:solidFill>
                <a:effectLst/>
                <a:uLnTx/>
                <a:uFillTx/>
                <a:latin typeface="Arial" panose="020B0604020202020204"/>
                <a:ea typeface="+mn-ea"/>
                <a:cs typeface="+mn-cs"/>
              </a:rPr>
              <a:t>&lt;</a:t>
            </a:r>
          </a:p>
        </p:txBody>
      </p:sp>
      <p:pic>
        <p:nvPicPr>
          <p:cNvPr id="12" name="Immagine 11" descr="Immagine che contiene Carattere, logo, Elementi grafici, testo&#10;&#10;Descrizione generata automaticamente">
            <a:extLst>
              <a:ext uri="{FF2B5EF4-FFF2-40B4-BE49-F238E27FC236}">
                <a16:creationId xmlns:a16="http://schemas.microsoft.com/office/drawing/2014/main" id="{65B106C8-3387-4E0E-3BB1-903B12465D09}"/>
              </a:ext>
            </a:extLst>
          </p:cNvPr>
          <p:cNvPicPr>
            <a:picLocks noChangeAspect="1"/>
          </p:cNvPicPr>
          <p:nvPr/>
        </p:nvPicPr>
        <p:blipFill>
          <a:blip r:embed="rId8"/>
          <a:stretch>
            <a:fillRect/>
          </a:stretch>
        </p:blipFill>
        <p:spPr>
          <a:xfrm>
            <a:off x="10237906" y="5903251"/>
            <a:ext cx="1704759" cy="863169"/>
          </a:xfrm>
          <a:prstGeom prst="rect">
            <a:avLst/>
          </a:prstGeom>
        </p:spPr>
      </p:pic>
      <p:pic>
        <p:nvPicPr>
          <p:cNvPr id="15" name="Elemento grafico 14" descr="Internet con riempimento a tinta unita">
            <a:extLst>
              <a:ext uri="{FF2B5EF4-FFF2-40B4-BE49-F238E27FC236}">
                <a16:creationId xmlns:a16="http://schemas.microsoft.com/office/drawing/2014/main" id="{3B140725-0FF1-77D0-E664-A6D6035A26C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26180" y="1689838"/>
            <a:ext cx="439073" cy="439073"/>
          </a:xfrm>
          <a:prstGeom prst="rect">
            <a:avLst/>
          </a:prstGeom>
        </p:spPr>
      </p:pic>
    </p:spTree>
    <p:extLst>
      <p:ext uri="{BB962C8B-B14F-4D97-AF65-F5344CB8AC3E}">
        <p14:creationId xmlns:p14="http://schemas.microsoft.com/office/powerpoint/2010/main" val="4064768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B8EBB39C-3725-403A-A5A7-E62CAA851624}"/>
              </a:ext>
            </a:extLst>
          </p:cNvPr>
          <p:cNvSpPr txBox="1">
            <a:spLocks/>
          </p:cNvSpPr>
          <p:nvPr/>
        </p:nvSpPr>
        <p:spPr>
          <a:xfrm>
            <a:off x="773737" y="280618"/>
            <a:ext cx="11180232" cy="73442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b="1" spc="-60" dirty="0">
                <a:solidFill>
                  <a:srgbClr val="002060"/>
                </a:solidFill>
                <a:latin typeface="Montserrat"/>
                <a:ea typeface="+mn-ea"/>
                <a:cs typeface="+mn-cs"/>
              </a:rPr>
              <a:t>Gen AI</a:t>
            </a:r>
          </a:p>
          <a:p>
            <a:endParaRPr lang="en-US" sz="1400" dirty="0">
              <a:latin typeface="Calibri" panose="020F0502020204030204" pitchFamily="34" charset="0"/>
              <a:cs typeface="Calibri" panose="020F0502020204030204" pitchFamily="34" charset="0"/>
            </a:endParaRPr>
          </a:p>
        </p:txBody>
      </p:sp>
      <p:sp>
        <p:nvSpPr>
          <p:cNvPr id="8" name="Oval 7">
            <a:extLst>
              <a:ext uri="{FF2B5EF4-FFF2-40B4-BE49-F238E27FC236}">
                <a16:creationId xmlns:a16="http://schemas.microsoft.com/office/drawing/2014/main" id="{E2ACF0E0-A755-448B-BA52-523164AB194F}"/>
              </a:ext>
            </a:extLst>
          </p:cNvPr>
          <p:cNvSpPr>
            <a:spLocks noGrp="1" noRot="1" noMove="1" noResize="1" noEditPoints="1" noAdjustHandles="1" noChangeArrowheads="1" noChangeShapeType="1"/>
          </p:cNvSpPr>
          <p:nvPr/>
        </p:nvSpPr>
        <p:spPr bwMode="gray">
          <a:xfrm>
            <a:off x="159189" y="803807"/>
            <a:ext cx="5936811" cy="5700265"/>
          </a:xfrm>
          <a:prstGeom prst="ellipse">
            <a:avLst/>
          </a:prstGeom>
          <a:solidFill>
            <a:schemeClr val="accent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6F80942-E249-4AC1-BA70-71FB0920EE67}"/>
              </a:ext>
            </a:extLst>
          </p:cNvPr>
          <p:cNvSpPr>
            <a:spLocks noGrp="1" noRot="1" noMove="1" noResize="1" noEditPoints="1" noAdjustHandles="1" noChangeArrowheads="1" noChangeShapeType="1"/>
          </p:cNvSpPr>
          <p:nvPr/>
        </p:nvSpPr>
        <p:spPr>
          <a:xfrm>
            <a:off x="1607609" y="1210112"/>
            <a:ext cx="3142720" cy="1261884"/>
          </a:xfrm>
          <a:prstGeom prst="rect">
            <a:avLst/>
          </a:prstGeom>
          <a:noFill/>
        </p:spPr>
        <p:txBody>
          <a:bodyPr wrap="none" lIns="91440" tIns="45720" rIns="91440" bIns="45720">
            <a:spAutoFit/>
          </a:bodyPr>
          <a:lstStyle/>
          <a:p>
            <a:pPr algn="ctr"/>
            <a:r>
              <a:rPr lang="en-US" sz="3600" b="1" dirty="0">
                <a:latin typeface="Arial" panose="020B0604020202020204" pitchFamily="34" charset="0"/>
                <a:ea typeface="+mj-ea"/>
                <a:cs typeface="Arial" panose="020B0604020202020204" pitchFamily="34" charset="0"/>
              </a:rPr>
              <a:t>Generative AI</a:t>
            </a:r>
          </a:p>
          <a:p>
            <a:pPr algn="ctr"/>
            <a:endParaRPr lang="en-US" sz="4000" b="1" dirty="0">
              <a:latin typeface="+mj-lt"/>
              <a:ea typeface="+mj-ea"/>
              <a:cs typeface="Calibri" panose="020F0502020204030204" pitchFamily="34" charset="0"/>
            </a:endParaRPr>
          </a:p>
        </p:txBody>
      </p:sp>
      <p:grpSp>
        <p:nvGrpSpPr>
          <p:cNvPr id="4" name="Group 3">
            <a:extLst>
              <a:ext uri="{FF2B5EF4-FFF2-40B4-BE49-F238E27FC236}">
                <a16:creationId xmlns:a16="http://schemas.microsoft.com/office/drawing/2014/main" id="{ECAED4B7-F742-83DC-0DDC-0425DCD49BE4}"/>
              </a:ext>
            </a:extLst>
          </p:cNvPr>
          <p:cNvGrpSpPr/>
          <p:nvPr/>
        </p:nvGrpSpPr>
        <p:grpSpPr>
          <a:xfrm>
            <a:off x="3127594" y="2771687"/>
            <a:ext cx="2726926" cy="2717030"/>
            <a:chOff x="3167023" y="3027489"/>
            <a:chExt cx="2726926" cy="2717030"/>
          </a:xfrm>
        </p:grpSpPr>
        <p:sp>
          <p:nvSpPr>
            <p:cNvPr id="11" name="Oval 10">
              <a:extLst>
                <a:ext uri="{FF2B5EF4-FFF2-40B4-BE49-F238E27FC236}">
                  <a16:creationId xmlns:a16="http://schemas.microsoft.com/office/drawing/2014/main" id="{D54B81B5-9692-46FF-B313-81BB48352062}"/>
                </a:ext>
              </a:extLst>
            </p:cNvPr>
            <p:cNvSpPr/>
            <p:nvPr/>
          </p:nvSpPr>
          <p:spPr bwMode="gray">
            <a:xfrm>
              <a:off x="3167023" y="3027489"/>
              <a:ext cx="2726926" cy="2717030"/>
            </a:xfrm>
            <a:prstGeom prst="ellipse">
              <a:avLst/>
            </a:prstGeom>
            <a:solidFill>
              <a:schemeClr val="accent2">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Rectangle 13">
              <a:extLst>
                <a:ext uri="{FF2B5EF4-FFF2-40B4-BE49-F238E27FC236}">
                  <a16:creationId xmlns:a16="http://schemas.microsoft.com/office/drawing/2014/main" id="{E66047B9-110C-40CD-8E79-B976D9FFB2BC}"/>
                </a:ext>
              </a:extLst>
            </p:cNvPr>
            <p:cNvSpPr/>
            <p:nvPr/>
          </p:nvSpPr>
          <p:spPr>
            <a:xfrm>
              <a:off x="3645470" y="3970506"/>
              <a:ext cx="1793924" cy="830997"/>
            </a:xfrm>
            <a:prstGeom prst="rect">
              <a:avLst/>
            </a:prstGeom>
            <a:noFill/>
          </p:spPr>
          <p:txBody>
            <a:bodyPr wrap="square" lIns="91440" tIns="45720" rIns="91440" bIns="45720">
              <a:spAutoFit/>
            </a:bodyPr>
            <a:lstStyle/>
            <a:p>
              <a:pPr algn="ctr"/>
              <a:r>
                <a:rPr lang="it-IT" sz="2400" dirty="0">
                  <a:latin typeface="Arial" panose="020B0604020202020204" pitchFamily="34" charset="0"/>
                  <a:ea typeface="+mj-ea"/>
                  <a:cs typeface="Arial" panose="020B0604020202020204" pitchFamily="34" charset="0"/>
                </a:rPr>
                <a:t>Diffusion Models</a:t>
              </a:r>
              <a:endParaRPr lang="en-US" sz="2400" dirty="0">
                <a:latin typeface="Arial" panose="020B0604020202020204" pitchFamily="34" charset="0"/>
                <a:ea typeface="+mj-ea"/>
                <a:cs typeface="Arial" panose="020B0604020202020204" pitchFamily="34" charset="0"/>
              </a:endParaRPr>
            </a:p>
          </p:txBody>
        </p:sp>
      </p:grpSp>
      <p:grpSp>
        <p:nvGrpSpPr>
          <p:cNvPr id="3" name="Group 2">
            <a:extLst>
              <a:ext uri="{FF2B5EF4-FFF2-40B4-BE49-F238E27FC236}">
                <a16:creationId xmlns:a16="http://schemas.microsoft.com/office/drawing/2014/main" id="{7061C010-DB2B-4B15-FB5A-38FFD52582C8}"/>
              </a:ext>
            </a:extLst>
          </p:cNvPr>
          <p:cNvGrpSpPr/>
          <p:nvPr/>
        </p:nvGrpSpPr>
        <p:grpSpPr>
          <a:xfrm>
            <a:off x="429753" y="1985535"/>
            <a:ext cx="2726926" cy="2717031"/>
            <a:chOff x="279929" y="1928962"/>
            <a:chExt cx="2726926" cy="2717031"/>
          </a:xfrm>
        </p:grpSpPr>
        <p:sp>
          <p:nvSpPr>
            <p:cNvPr id="9" name="Oval 8">
              <a:extLst>
                <a:ext uri="{FF2B5EF4-FFF2-40B4-BE49-F238E27FC236}">
                  <a16:creationId xmlns:a16="http://schemas.microsoft.com/office/drawing/2014/main" id="{A2DD9A93-D84A-494E-BF4E-F9EDAFBA37ED}"/>
                </a:ext>
              </a:extLst>
            </p:cNvPr>
            <p:cNvSpPr/>
            <p:nvPr/>
          </p:nvSpPr>
          <p:spPr bwMode="gray">
            <a:xfrm>
              <a:off x="279929" y="1928962"/>
              <a:ext cx="2726926" cy="2717031"/>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Rectangle 14">
              <a:extLst>
                <a:ext uri="{FF2B5EF4-FFF2-40B4-BE49-F238E27FC236}">
                  <a16:creationId xmlns:a16="http://schemas.microsoft.com/office/drawing/2014/main" id="{54EE7AFB-D0AB-48BE-A032-35797DBAFDE1}"/>
                </a:ext>
              </a:extLst>
            </p:cNvPr>
            <p:cNvSpPr>
              <a:spLocks/>
            </p:cNvSpPr>
            <p:nvPr/>
          </p:nvSpPr>
          <p:spPr>
            <a:xfrm>
              <a:off x="506585" y="2871978"/>
              <a:ext cx="2229705" cy="830997"/>
            </a:xfrm>
            <a:prstGeom prst="rect">
              <a:avLst/>
            </a:prstGeom>
            <a:noFill/>
          </p:spPr>
          <p:txBody>
            <a:bodyPr wrap="square" lIns="91440" tIns="45720" rIns="91440" bIns="45720">
              <a:spAutoFit/>
            </a:bodyPr>
            <a:lstStyle/>
            <a:p>
              <a:pPr algn="ctr"/>
              <a:r>
                <a:rPr lang="it-IT" sz="2400" dirty="0">
                  <a:latin typeface="Arial" panose="020B0604020202020204" pitchFamily="34" charset="0"/>
                  <a:ea typeface="+mj-ea"/>
                  <a:cs typeface="Arial" panose="020B0604020202020204" pitchFamily="34" charset="0"/>
                </a:rPr>
                <a:t>Autoregressive Models</a:t>
              </a:r>
              <a:endParaRPr lang="en-US" sz="2400" dirty="0">
                <a:latin typeface="Arial" panose="020B0604020202020204" pitchFamily="34" charset="0"/>
                <a:ea typeface="+mj-ea"/>
                <a:cs typeface="Arial" panose="020B0604020202020204" pitchFamily="34" charset="0"/>
              </a:endParaRPr>
            </a:p>
          </p:txBody>
        </p:sp>
      </p:grpSp>
      <p:sp>
        <p:nvSpPr>
          <p:cNvPr id="17" name="TextBox 16">
            <a:extLst>
              <a:ext uri="{FF2B5EF4-FFF2-40B4-BE49-F238E27FC236}">
                <a16:creationId xmlns:a16="http://schemas.microsoft.com/office/drawing/2014/main" id="{7993B009-592A-40CB-AEDE-36089E6FCADC}"/>
              </a:ext>
            </a:extLst>
          </p:cNvPr>
          <p:cNvSpPr txBox="1"/>
          <p:nvPr/>
        </p:nvSpPr>
        <p:spPr>
          <a:xfrm>
            <a:off x="6306596" y="1943668"/>
            <a:ext cx="5647373" cy="2800767"/>
          </a:xfrm>
          <a:prstGeom prst="rect">
            <a:avLst/>
          </a:prstGeom>
          <a:noFill/>
        </p:spPr>
        <p:txBody>
          <a:bodyPr wrap="square" rtlCol="0">
            <a:spAutoFit/>
          </a:bodyPr>
          <a:lstStyle/>
          <a:p>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With </a:t>
            </a:r>
            <a:r>
              <a:rPr lang="it-IT" sz="22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Gen AI</a:t>
            </a: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 we refer to applications of AI where </a:t>
            </a:r>
            <a:r>
              <a:rPr lang="it-IT" sz="22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new data is created </a:t>
            </a: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generated) upon user interaction</a:t>
            </a:r>
            <a:endParaRPr lang="it-IT" sz="2200" b="1"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endPar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ChatGPT/LLaMa generate language</a:t>
            </a:r>
          </a:p>
          <a:p>
            <a:pPr marL="285750" indent="-285750">
              <a:buFont typeface="Arial" panose="020B0604020202020204" pitchFamily="34" charset="0"/>
              <a:buChar char="•"/>
            </a:pP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DALL-E / Midjourney generate images</a:t>
            </a:r>
          </a:p>
          <a:p>
            <a:pPr marL="285750" indent="-285750">
              <a:buFont typeface="Arial" panose="020B0604020202020204" pitchFamily="34" charset="0"/>
              <a:buChar char="•"/>
            </a:pP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SORA / Pika generate video</a:t>
            </a:r>
          </a:p>
          <a:p>
            <a:pPr marL="285750" indent="-285750">
              <a:buFont typeface="Arial" panose="020B0604020202020204" pitchFamily="34" charset="0"/>
              <a:buChar char="•"/>
            </a:pP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SUNO / udio generate sound/music</a:t>
            </a:r>
          </a:p>
        </p:txBody>
      </p:sp>
      <p:pic>
        <p:nvPicPr>
          <p:cNvPr id="2" name="Immagine 11" descr="Immagine che contiene Carattere, logo, Elementi grafici, testo&#10;&#10;Descrizione generata automaticamente">
            <a:extLst>
              <a:ext uri="{FF2B5EF4-FFF2-40B4-BE49-F238E27FC236}">
                <a16:creationId xmlns:a16="http://schemas.microsoft.com/office/drawing/2014/main" id="{B93F0EEF-9CD2-D6B8-CF77-BA01F77C742B}"/>
              </a:ext>
            </a:extLst>
          </p:cNvPr>
          <p:cNvPicPr>
            <a:picLocks noChangeAspect="1"/>
          </p:cNvPicPr>
          <p:nvPr/>
        </p:nvPicPr>
        <p:blipFill>
          <a:blip r:embed="rId3"/>
          <a:stretch>
            <a:fillRect/>
          </a:stretch>
        </p:blipFill>
        <p:spPr>
          <a:xfrm>
            <a:off x="10269437" y="5912638"/>
            <a:ext cx="1704759" cy="863169"/>
          </a:xfrm>
          <a:prstGeom prst="rect">
            <a:avLst/>
          </a:prstGeom>
        </p:spPr>
      </p:pic>
    </p:spTree>
    <p:extLst>
      <p:ext uri="{BB962C8B-B14F-4D97-AF65-F5344CB8AC3E}">
        <p14:creationId xmlns:p14="http://schemas.microsoft.com/office/powerpoint/2010/main" val="958987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B8EBB39C-3725-403A-A5A7-E62CAA851624}"/>
              </a:ext>
            </a:extLst>
          </p:cNvPr>
          <p:cNvSpPr txBox="1">
            <a:spLocks/>
          </p:cNvSpPr>
          <p:nvPr/>
        </p:nvSpPr>
        <p:spPr>
          <a:xfrm>
            <a:off x="773737" y="280618"/>
            <a:ext cx="11180232" cy="73442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b="1" spc="-60" dirty="0">
                <a:solidFill>
                  <a:srgbClr val="002060"/>
                </a:solidFill>
                <a:latin typeface="Montserrat"/>
                <a:ea typeface="+mn-ea"/>
                <a:cs typeface="+mn-cs"/>
              </a:rPr>
              <a:t>Gen AI</a:t>
            </a:r>
          </a:p>
          <a:p>
            <a:endParaRPr lang="en-US" sz="1400" dirty="0">
              <a:latin typeface="Calibri" panose="020F0502020204030204" pitchFamily="34" charset="0"/>
              <a:cs typeface="Calibri" panose="020F0502020204030204" pitchFamily="34" charset="0"/>
            </a:endParaRPr>
          </a:p>
        </p:txBody>
      </p:sp>
      <p:sp>
        <p:nvSpPr>
          <p:cNvPr id="8" name="Oval 7">
            <a:extLst>
              <a:ext uri="{FF2B5EF4-FFF2-40B4-BE49-F238E27FC236}">
                <a16:creationId xmlns:a16="http://schemas.microsoft.com/office/drawing/2014/main" id="{E2ACF0E0-A755-448B-BA52-523164AB194F}"/>
              </a:ext>
            </a:extLst>
          </p:cNvPr>
          <p:cNvSpPr>
            <a:spLocks noGrp="1" noRot="1" noMove="1" noResize="1" noEditPoints="1" noAdjustHandles="1" noChangeArrowheads="1" noChangeShapeType="1"/>
          </p:cNvSpPr>
          <p:nvPr/>
        </p:nvSpPr>
        <p:spPr bwMode="gray">
          <a:xfrm>
            <a:off x="159189" y="803807"/>
            <a:ext cx="5936811" cy="5700265"/>
          </a:xfrm>
          <a:prstGeom prst="ellipse">
            <a:avLst/>
          </a:prstGeom>
          <a:solidFill>
            <a:schemeClr val="accent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6F80942-E249-4AC1-BA70-71FB0920EE67}"/>
              </a:ext>
            </a:extLst>
          </p:cNvPr>
          <p:cNvSpPr>
            <a:spLocks noGrp="1" noRot="1" noMove="1" noResize="1" noEditPoints="1" noAdjustHandles="1" noChangeArrowheads="1" noChangeShapeType="1"/>
          </p:cNvSpPr>
          <p:nvPr/>
        </p:nvSpPr>
        <p:spPr>
          <a:xfrm>
            <a:off x="1607609" y="1210112"/>
            <a:ext cx="3142720" cy="1261884"/>
          </a:xfrm>
          <a:prstGeom prst="rect">
            <a:avLst/>
          </a:prstGeom>
          <a:noFill/>
        </p:spPr>
        <p:txBody>
          <a:bodyPr wrap="none" lIns="91440" tIns="45720" rIns="91440" bIns="45720">
            <a:spAutoFit/>
          </a:bodyPr>
          <a:lstStyle/>
          <a:p>
            <a:pPr algn="ctr"/>
            <a:r>
              <a:rPr lang="en-US" sz="3600" b="1" dirty="0">
                <a:latin typeface="Arial" panose="020B0604020202020204" pitchFamily="34" charset="0"/>
                <a:ea typeface="+mj-ea"/>
                <a:cs typeface="Arial" panose="020B0604020202020204" pitchFamily="34" charset="0"/>
              </a:rPr>
              <a:t>Generative AI</a:t>
            </a:r>
          </a:p>
          <a:p>
            <a:pPr algn="ctr"/>
            <a:endParaRPr lang="en-US" sz="4000" b="1" dirty="0">
              <a:latin typeface="+mj-lt"/>
              <a:ea typeface="+mj-ea"/>
              <a:cs typeface="Calibri" panose="020F0502020204030204" pitchFamily="34" charset="0"/>
            </a:endParaRPr>
          </a:p>
        </p:txBody>
      </p:sp>
      <p:grpSp>
        <p:nvGrpSpPr>
          <p:cNvPr id="4" name="Group 3">
            <a:extLst>
              <a:ext uri="{FF2B5EF4-FFF2-40B4-BE49-F238E27FC236}">
                <a16:creationId xmlns:a16="http://schemas.microsoft.com/office/drawing/2014/main" id="{ECAED4B7-F742-83DC-0DDC-0425DCD49BE4}"/>
              </a:ext>
            </a:extLst>
          </p:cNvPr>
          <p:cNvGrpSpPr/>
          <p:nvPr/>
        </p:nvGrpSpPr>
        <p:grpSpPr>
          <a:xfrm>
            <a:off x="3127594" y="2771687"/>
            <a:ext cx="2726926" cy="2717030"/>
            <a:chOff x="3167023" y="3027489"/>
            <a:chExt cx="2726926" cy="2717030"/>
          </a:xfrm>
        </p:grpSpPr>
        <p:sp>
          <p:nvSpPr>
            <p:cNvPr id="11" name="Oval 10">
              <a:extLst>
                <a:ext uri="{FF2B5EF4-FFF2-40B4-BE49-F238E27FC236}">
                  <a16:creationId xmlns:a16="http://schemas.microsoft.com/office/drawing/2014/main" id="{D54B81B5-9692-46FF-B313-81BB48352062}"/>
                </a:ext>
              </a:extLst>
            </p:cNvPr>
            <p:cNvSpPr/>
            <p:nvPr/>
          </p:nvSpPr>
          <p:spPr bwMode="gray">
            <a:xfrm>
              <a:off x="3167023" y="3027489"/>
              <a:ext cx="2726926" cy="2717030"/>
            </a:xfrm>
            <a:prstGeom prst="ellipse">
              <a:avLst/>
            </a:prstGeom>
            <a:solidFill>
              <a:schemeClr val="accent2">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Rectangle 13">
              <a:extLst>
                <a:ext uri="{FF2B5EF4-FFF2-40B4-BE49-F238E27FC236}">
                  <a16:creationId xmlns:a16="http://schemas.microsoft.com/office/drawing/2014/main" id="{E66047B9-110C-40CD-8E79-B976D9FFB2BC}"/>
                </a:ext>
              </a:extLst>
            </p:cNvPr>
            <p:cNvSpPr/>
            <p:nvPr/>
          </p:nvSpPr>
          <p:spPr>
            <a:xfrm>
              <a:off x="3645470" y="3970506"/>
              <a:ext cx="1793924" cy="830997"/>
            </a:xfrm>
            <a:prstGeom prst="rect">
              <a:avLst/>
            </a:prstGeom>
            <a:noFill/>
          </p:spPr>
          <p:txBody>
            <a:bodyPr wrap="square" lIns="91440" tIns="45720" rIns="91440" bIns="45720">
              <a:spAutoFit/>
            </a:bodyPr>
            <a:lstStyle/>
            <a:p>
              <a:pPr algn="ctr"/>
              <a:r>
                <a:rPr lang="it-IT" sz="2400" dirty="0">
                  <a:latin typeface="Arial" panose="020B0604020202020204" pitchFamily="34" charset="0"/>
                  <a:ea typeface="+mj-ea"/>
                  <a:cs typeface="Arial" panose="020B0604020202020204" pitchFamily="34" charset="0"/>
                </a:rPr>
                <a:t>Diffusion Models</a:t>
              </a:r>
              <a:endParaRPr lang="en-US" sz="2400" dirty="0">
                <a:latin typeface="Arial" panose="020B0604020202020204" pitchFamily="34" charset="0"/>
                <a:ea typeface="+mj-ea"/>
                <a:cs typeface="Arial" panose="020B0604020202020204" pitchFamily="34" charset="0"/>
              </a:endParaRPr>
            </a:p>
          </p:txBody>
        </p:sp>
      </p:grpSp>
      <p:grpSp>
        <p:nvGrpSpPr>
          <p:cNvPr id="3" name="Group 2">
            <a:extLst>
              <a:ext uri="{FF2B5EF4-FFF2-40B4-BE49-F238E27FC236}">
                <a16:creationId xmlns:a16="http://schemas.microsoft.com/office/drawing/2014/main" id="{7061C010-DB2B-4B15-FB5A-38FFD52582C8}"/>
              </a:ext>
            </a:extLst>
          </p:cNvPr>
          <p:cNvGrpSpPr/>
          <p:nvPr/>
        </p:nvGrpSpPr>
        <p:grpSpPr>
          <a:xfrm>
            <a:off x="429753" y="1985535"/>
            <a:ext cx="2726926" cy="2717031"/>
            <a:chOff x="279929" y="1928962"/>
            <a:chExt cx="2726926" cy="2717031"/>
          </a:xfrm>
        </p:grpSpPr>
        <p:sp>
          <p:nvSpPr>
            <p:cNvPr id="9" name="Oval 8">
              <a:extLst>
                <a:ext uri="{FF2B5EF4-FFF2-40B4-BE49-F238E27FC236}">
                  <a16:creationId xmlns:a16="http://schemas.microsoft.com/office/drawing/2014/main" id="{A2DD9A93-D84A-494E-BF4E-F9EDAFBA37ED}"/>
                </a:ext>
              </a:extLst>
            </p:cNvPr>
            <p:cNvSpPr/>
            <p:nvPr/>
          </p:nvSpPr>
          <p:spPr bwMode="gray">
            <a:xfrm>
              <a:off x="279929" y="1928962"/>
              <a:ext cx="2726926" cy="2717031"/>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Rectangle 14">
              <a:extLst>
                <a:ext uri="{FF2B5EF4-FFF2-40B4-BE49-F238E27FC236}">
                  <a16:creationId xmlns:a16="http://schemas.microsoft.com/office/drawing/2014/main" id="{54EE7AFB-D0AB-48BE-A032-35797DBAFDE1}"/>
                </a:ext>
              </a:extLst>
            </p:cNvPr>
            <p:cNvSpPr>
              <a:spLocks/>
            </p:cNvSpPr>
            <p:nvPr/>
          </p:nvSpPr>
          <p:spPr>
            <a:xfrm>
              <a:off x="407799" y="2848303"/>
              <a:ext cx="2471185" cy="830997"/>
            </a:xfrm>
            <a:prstGeom prst="rect">
              <a:avLst/>
            </a:prstGeom>
            <a:noFill/>
          </p:spPr>
          <p:txBody>
            <a:bodyPr wrap="square" lIns="91440" tIns="45720" rIns="91440" bIns="45720">
              <a:spAutoFit/>
            </a:bodyPr>
            <a:lstStyle/>
            <a:p>
              <a:pPr algn="ctr"/>
              <a:r>
                <a:rPr lang="it-IT" sz="2400" b="1" u="sng" dirty="0">
                  <a:latin typeface="Arial" panose="020B0604020202020204" pitchFamily="34" charset="0"/>
                  <a:ea typeface="+mj-ea"/>
                  <a:cs typeface="Arial" panose="020B0604020202020204" pitchFamily="34" charset="0"/>
                </a:rPr>
                <a:t>Autoregressive Models</a:t>
              </a:r>
              <a:endParaRPr lang="en-US" sz="2400" b="1" u="sng" dirty="0">
                <a:latin typeface="Arial" panose="020B0604020202020204" pitchFamily="34" charset="0"/>
                <a:ea typeface="+mj-ea"/>
                <a:cs typeface="Arial" panose="020B0604020202020204" pitchFamily="34" charset="0"/>
              </a:endParaRPr>
            </a:p>
          </p:txBody>
        </p:sp>
      </p:grpSp>
      <p:sp>
        <p:nvSpPr>
          <p:cNvPr id="17" name="TextBox 16">
            <a:extLst>
              <a:ext uri="{FF2B5EF4-FFF2-40B4-BE49-F238E27FC236}">
                <a16:creationId xmlns:a16="http://schemas.microsoft.com/office/drawing/2014/main" id="{7993B009-592A-40CB-AEDE-36089E6FCADC}"/>
              </a:ext>
            </a:extLst>
          </p:cNvPr>
          <p:cNvSpPr txBox="1"/>
          <p:nvPr/>
        </p:nvSpPr>
        <p:spPr>
          <a:xfrm>
            <a:off x="6306596" y="1943668"/>
            <a:ext cx="5647373" cy="2800767"/>
          </a:xfrm>
          <a:prstGeom prst="rect">
            <a:avLst/>
          </a:prstGeom>
          <a:noFill/>
        </p:spPr>
        <p:txBody>
          <a:bodyPr wrap="square" rtlCol="0">
            <a:spAutoFit/>
          </a:bodyPr>
          <a:lstStyle/>
          <a:p>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With </a:t>
            </a:r>
            <a:r>
              <a:rPr lang="it-IT" sz="22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Gen AI</a:t>
            </a: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 we refer to applications of AI where </a:t>
            </a:r>
            <a:r>
              <a:rPr lang="it-IT" sz="22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new data is created </a:t>
            </a: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generated) upon user interaction</a:t>
            </a:r>
            <a:endParaRPr lang="it-IT" sz="2200" b="1"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endPar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it-IT" sz="2200" b="1" u="sng" dirty="0">
                <a:solidFill>
                  <a:srgbClr val="002060"/>
                </a:solidFill>
                <a:latin typeface="Open Sans" panose="020B0606030504020204" pitchFamily="34" charset="0"/>
                <a:ea typeface="Open Sans" panose="020B0606030504020204" pitchFamily="34" charset="0"/>
                <a:cs typeface="Open Sans" panose="020B0606030504020204" pitchFamily="34" charset="0"/>
              </a:rPr>
              <a:t>ChatGPT/LLaMa generate language</a:t>
            </a:r>
          </a:p>
          <a:p>
            <a:pPr marL="285750" indent="-285750">
              <a:buFont typeface="Arial" panose="020B0604020202020204" pitchFamily="34" charset="0"/>
              <a:buChar char="•"/>
            </a:pP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DALL-E / Midjourney generate images</a:t>
            </a:r>
          </a:p>
          <a:p>
            <a:pPr marL="285750" indent="-285750">
              <a:buFont typeface="Arial" panose="020B0604020202020204" pitchFamily="34" charset="0"/>
              <a:buChar char="•"/>
            </a:pP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SORA / Pika generate video</a:t>
            </a:r>
          </a:p>
          <a:p>
            <a:pPr marL="285750" indent="-285750">
              <a:buFont typeface="Arial" panose="020B0604020202020204" pitchFamily="34" charset="0"/>
              <a:buChar char="•"/>
            </a:pPr>
            <a:r>
              <a:rPr lang="it-IT" sz="2200" dirty="0">
                <a:solidFill>
                  <a:srgbClr val="002060"/>
                </a:solidFill>
                <a:latin typeface="Open Sans" panose="020B0606030504020204" pitchFamily="34" charset="0"/>
                <a:ea typeface="Open Sans" panose="020B0606030504020204" pitchFamily="34" charset="0"/>
                <a:cs typeface="Open Sans" panose="020B0606030504020204" pitchFamily="34" charset="0"/>
              </a:rPr>
              <a:t>SUNO / udio generate sound/music</a:t>
            </a:r>
          </a:p>
        </p:txBody>
      </p:sp>
      <p:pic>
        <p:nvPicPr>
          <p:cNvPr id="2" name="Immagine 11" descr="Immagine che contiene Carattere, logo, Elementi grafici, testo&#10;&#10;Descrizione generata automaticamente">
            <a:extLst>
              <a:ext uri="{FF2B5EF4-FFF2-40B4-BE49-F238E27FC236}">
                <a16:creationId xmlns:a16="http://schemas.microsoft.com/office/drawing/2014/main" id="{3C05E6A2-6067-9F77-B5B2-29AAD87F3129}"/>
              </a:ext>
            </a:extLst>
          </p:cNvPr>
          <p:cNvPicPr>
            <a:picLocks noChangeAspect="1"/>
          </p:cNvPicPr>
          <p:nvPr/>
        </p:nvPicPr>
        <p:blipFill>
          <a:blip r:embed="rId3"/>
          <a:stretch>
            <a:fillRect/>
          </a:stretch>
        </p:blipFill>
        <p:spPr>
          <a:xfrm>
            <a:off x="10269437" y="5902128"/>
            <a:ext cx="1704759" cy="863169"/>
          </a:xfrm>
          <a:prstGeom prst="rect">
            <a:avLst/>
          </a:prstGeom>
        </p:spPr>
      </p:pic>
    </p:spTree>
    <p:extLst>
      <p:ext uri="{BB962C8B-B14F-4D97-AF65-F5344CB8AC3E}">
        <p14:creationId xmlns:p14="http://schemas.microsoft.com/office/powerpoint/2010/main" val="1033168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342B4-2AC4-DCAB-C611-BBEAD3ABCFE0}"/>
              </a:ext>
            </a:extLst>
          </p:cNvPr>
          <p:cNvSpPr>
            <a:spLocks noGrp="1"/>
          </p:cNvSpPr>
          <p:nvPr>
            <p:ph type="title"/>
          </p:nvPr>
        </p:nvSpPr>
        <p:spPr/>
        <p:txBody>
          <a:bodyPr>
            <a:normAutofit fontScale="90000"/>
          </a:bodyPr>
          <a:lstStyle/>
          <a:p>
            <a:r>
              <a:rPr lang="en-US" sz="4400" dirty="0">
                <a:effectLst/>
                <a:latin typeface="Calibri" panose="020F0502020204030204" pitchFamily="34" charset="0"/>
              </a:rPr>
              <a:t>Autoregressive Language Models</a:t>
            </a:r>
            <a:endParaRPr lang="en-US" dirty="0"/>
          </a:p>
        </p:txBody>
      </p:sp>
      <p:sp>
        <p:nvSpPr>
          <p:cNvPr id="3" name="Content Placeholder 2">
            <a:extLst>
              <a:ext uri="{FF2B5EF4-FFF2-40B4-BE49-F238E27FC236}">
                <a16:creationId xmlns:a16="http://schemas.microsoft.com/office/drawing/2014/main" id="{1BDE6FF0-8B06-4FAA-9E40-249D1C5CF7E4}"/>
              </a:ext>
            </a:extLst>
          </p:cNvPr>
          <p:cNvSpPr>
            <a:spLocks noGrp="1"/>
          </p:cNvSpPr>
          <p:nvPr>
            <p:ph idx="1"/>
          </p:nvPr>
        </p:nvSpPr>
        <p:spPr>
          <a:xfrm>
            <a:off x="5836444" y="1307306"/>
            <a:ext cx="6290999" cy="4986775"/>
          </a:xfrm>
        </p:spPr>
        <p:txBody>
          <a:bodyPr>
            <a:normAutofit/>
          </a:bodyPr>
          <a:lstStyle/>
          <a:p>
            <a:r>
              <a:rPr lang="en-US" sz="2100" dirty="0"/>
              <a:t>Autoregressive models generate data </a:t>
            </a:r>
            <a:r>
              <a:rPr lang="en-US" sz="2100" b="1" dirty="0"/>
              <a:t>sequentially</a:t>
            </a:r>
            <a:r>
              <a:rPr lang="en-US" sz="2100" dirty="0"/>
              <a:t>, one step at a time.</a:t>
            </a:r>
          </a:p>
          <a:p>
            <a:pPr marL="0" indent="0">
              <a:buNone/>
            </a:pPr>
            <a:endParaRPr lang="en-US" sz="2100" dirty="0"/>
          </a:p>
          <a:p>
            <a:r>
              <a:rPr lang="en-US" sz="2100" dirty="0"/>
              <a:t>In the case of text generation, autoregressive models </a:t>
            </a:r>
            <a:r>
              <a:rPr lang="en-US" sz="2100" b="1" dirty="0"/>
              <a:t>predict the next token</a:t>
            </a:r>
            <a:r>
              <a:rPr lang="en-US" sz="2100" dirty="0"/>
              <a:t> (word or </a:t>
            </a:r>
            <a:r>
              <a:rPr lang="en-US" sz="2100" dirty="0" err="1"/>
              <a:t>subword</a:t>
            </a:r>
            <a:r>
              <a:rPr lang="en-US" sz="2100" dirty="0"/>
              <a:t>) </a:t>
            </a:r>
            <a:r>
              <a:rPr lang="en-US" sz="2100" b="1" dirty="0"/>
              <a:t>based on the previously generated tokens</a:t>
            </a:r>
            <a:r>
              <a:rPr lang="en-US" sz="2100" dirty="0"/>
              <a:t>.</a:t>
            </a:r>
          </a:p>
          <a:p>
            <a:pPr marL="0" indent="0">
              <a:buNone/>
            </a:pPr>
            <a:endParaRPr lang="en-US" sz="2100" dirty="0"/>
          </a:p>
          <a:p>
            <a:r>
              <a:rPr lang="en-US" sz="2100" dirty="0"/>
              <a:t>The generation process is </a:t>
            </a:r>
            <a:r>
              <a:rPr lang="en-US" sz="2100" b="1" dirty="0"/>
              <a:t>iterative</a:t>
            </a:r>
            <a:r>
              <a:rPr lang="en-US" sz="2100" dirty="0"/>
              <a:t>, with each step depending on the output of the previous steps.</a:t>
            </a:r>
          </a:p>
        </p:txBody>
      </p:sp>
      <p:pic>
        <p:nvPicPr>
          <p:cNvPr id="4" name="Picture 3">
            <a:extLst>
              <a:ext uri="{FF2B5EF4-FFF2-40B4-BE49-F238E27FC236}">
                <a16:creationId xmlns:a16="http://schemas.microsoft.com/office/drawing/2014/main" id="{B90B2E04-12B2-1D48-A582-8317377F5256}"/>
              </a:ext>
            </a:extLst>
          </p:cNvPr>
          <p:cNvPicPr>
            <a:picLocks noChangeAspect="1"/>
          </p:cNvPicPr>
          <p:nvPr/>
        </p:nvPicPr>
        <p:blipFill>
          <a:blip r:embed="rId3"/>
          <a:stretch>
            <a:fillRect/>
          </a:stretch>
        </p:blipFill>
        <p:spPr>
          <a:xfrm>
            <a:off x="3948803" y="1807587"/>
            <a:ext cx="1151833" cy="1151833"/>
          </a:xfrm>
          <a:prstGeom prst="rect">
            <a:avLst/>
          </a:prstGeom>
        </p:spPr>
      </p:pic>
      <p:pic>
        <p:nvPicPr>
          <p:cNvPr id="5" name="Picture 2">
            <a:extLst>
              <a:ext uri="{FF2B5EF4-FFF2-40B4-BE49-F238E27FC236}">
                <a16:creationId xmlns:a16="http://schemas.microsoft.com/office/drawing/2014/main" id="{3E2C96B7-1259-AAEC-6420-B29C90E375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8168" y="3087765"/>
            <a:ext cx="5503771" cy="1664496"/>
          </a:xfrm>
          <a:prstGeom prst="rect">
            <a:avLst/>
          </a:prstGeom>
          <a:noFill/>
          <a:extLst>
            <a:ext uri="{909E8E84-426E-40DD-AFC4-6F175D3DCCD1}">
              <a14:hiddenFill xmlns:a14="http://schemas.microsoft.com/office/drawing/2010/main">
                <a:solidFill>
                  <a:srgbClr val="FFFFFF"/>
                </a:solidFill>
              </a14:hiddenFill>
            </a:ext>
          </a:extLst>
        </p:spPr>
      </p:pic>
      <p:pic>
        <p:nvPicPr>
          <p:cNvPr id="6" name="Immagine 11" descr="Immagine che contiene Carattere, logo, Elementi grafici, testo&#10;&#10;Descrizione generata automaticamente">
            <a:extLst>
              <a:ext uri="{FF2B5EF4-FFF2-40B4-BE49-F238E27FC236}">
                <a16:creationId xmlns:a16="http://schemas.microsoft.com/office/drawing/2014/main" id="{CEB6395E-66DE-E988-7D97-91E3D01C816C}"/>
              </a:ext>
            </a:extLst>
          </p:cNvPr>
          <p:cNvPicPr>
            <a:picLocks noChangeAspect="1"/>
          </p:cNvPicPr>
          <p:nvPr/>
        </p:nvPicPr>
        <p:blipFill>
          <a:blip r:embed="rId5"/>
          <a:stretch>
            <a:fillRect/>
          </a:stretch>
        </p:blipFill>
        <p:spPr>
          <a:xfrm>
            <a:off x="10269437" y="5912638"/>
            <a:ext cx="1704759" cy="863169"/>
          </a:xfrm>
          <a:prstGeom prst="rect">
            <a:avLst/>
          </a:prstGeom>
        </p:spPr>
      </p:pic>
    </p:spTree>
    <p:extLst>
      <p:ext uri="{BB962C8B-B14F-4D97-AF65-F5344CB8AC3E}">
        <p14:creationId xmlns:p14="http://schemas.microsoft.com/office/powerpoint/2010/main" val="388332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40000-C6EB-47A4-F85E-DEAED455D552}"/>
              </a:ext>
            </a:extLst>
          </p:cNvPr>
          <p:cNvSpPr>
            <a:spLocks noGrp="1"/>
          </p:cNvSpPr>
          <p:nvPr>
            <p:ph type="title"/>
          </p:nvPr>
        </p:nvSpPr>
        <p:spPr>
          <a:xfrm>
            <a:off x="789744" y="149850"/>
            <a:ext cx="9844391" cy="676879"/>
          </a:xfrm>
        </p:spPr>
        <p:txBody>
          <a:bodyPr/>
          <a:lstStyle/>
          <a:p>
            <a:r>
              <a:rPr lang="it-IT" dirty="0"/>
              <a:t>Generation Flow</a:t>
            </a:r>
            <a:endParaRPr lang="en-US" dirty="0"/>
          </a:p>
        </p:txBody>
      </p:sp>
      <p:sp>
        <p:nvSpPr>
          <p:cNvPr id="3" name="Content Placeholder 2">
            <a:extLst>
              <a:ext uri="{FF2B5EF4-FFF2-40B4-BE49-F238E27FC236}">
                <a16:creationId xmlns:a16="http://schemas.microsoft.com/office/drawing/2014/main" id="{7FF5F173-DCA2-ADD9-4470-806F38D1D0FB}"/>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F80D2C5D-B271-3869-D57C-364FED5E8F72}"/>
              </a:ext>
            </a:extLst>
          </p:cNvPr>
          <p:cNvSpPr>
            <a:spLocks noGrp="1"/>
          </p:cNvSpPr>
          <p:nvPr>
            <p:ph type="sldNum" sz="quarter" idx="4"/>
          </p:nvPr>
        </p:nvSpPr>
        <p:spPr/>
        <p:txBody>
          <a:bodyPr/>
          <a:lstStyle/>
          <a:p>
            <a:fld id="{0E40EB1B-F5EF-4BD9-BEF0-8FDE7FEF3ED8}" type="slidenum">
              <a:rPr lang="it-IT" smtClean="0"/>
              <a:pPr/>
              <a:t>5</a:t>
            </a:fld>
            <a:endParaRPr lang="it-IT" dirty="0"/>
          </a:p>
        </p:txBody>
      </p:sp>
      <p:pic>
        <p:nvPicPr>
          <p:cNvPr id="5" name="Picture 4">
            <a:extLst>
              <a:ext uri="{FF2B5EF4-FFF2-40B4-BE49-F238E27FC236}">
                <a16:creationId xmlns:a16="http://schemas.microsoft.com/office/drawing/2014/main" id="{5B2E8988-4BEF-CD36-CA51-F9AD04B5A0B4}"/>
              </a:ext>
            </a:extLst>
          </p:cNvPr>
          <p:cNvPicPr>
            <a:picLocks noChangeAspect="1"/>
          </p:cNvPicPr>
          <p:nvPr/>
        </p:nvPicPr>
        <p:blipFill>
          <a:blip r:embed="rId3"/>
          <a:stretch>
            <a:fillRect/>
          </a:stretch>
        </p:blipFill>
        <p:spPr>
          <a:xfrm>
            <a:off x="8379999" y="854204"/>
            <a:ext cx="4084711" cy="5019030"/>
          </a:xfrm>
          <a:prstGeom prst="rect">
            <a:avLst/>
          </a:prstGeom>
        </p:spPr>
      </p:pic>
      <p:sp>
        <p:nvSpPr>
          <p:cNvPr id="6" name="Freeform 29">
            <a:extLst>
              <a:ext uri="{FF2B5EF4-FFF2-40B4-BE49-F238E27FC236}">
                <a16:creationId xmlns:a16="http://schemas.microsoft.com/office/drawing/2014/main" id="{6BE4A2D7-07B8-5A6B-3D94-D6CBC941ECBF}"/>
              </a:ext>
            </a:extLst>
          </p:cNvPr>
          <p:cNvSpPr/>
          <p:nvPr/>
        </p:nvSpPr>
        <p:spPr bwMode="gray">
          <a:xfrm>
            <a:off x="1427160" y="956615"/>
            <a:ext cx="7157313"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000000"/>
          </a:solidFill>
          <a:ln w="19050" algn="ctr">
            <a:noFill/>
            <a:miter lim="800000"/>
            <a:headEnd/>
            <a:tailEnd/>
          </a:ln>
        </p:spPr>
        <p:txBody>
          <a:bodyPr wrap="square" lIns="182880" tIns="88900" rIns="1800000" bIns="88900" rtlCol="0" anchor="ctr"/>
          <a:lstStyle/>
          <a:p>
            <a:pPr defTabSz="913686"/>
            <a:r>
              <a:rPr lang="en-US" sz="1300" b="1" dirty="0">
                <a:solidFill>
                  <a:prstClr val="white"/>
                </a:solidFill>
              </a:rPr>
              <a:t>Input Processing</a:t>
            </a:r>
          </a:p>
          <a:p>
            <a:pPr defTabSz="913686"/>
            <a:endParaRPr lang="en-US" sz="1300" b="1" dirty="0">
              <a:solidFill>
                <a:prstClr val="white"/>
              </a:solidFill>
            </a:endParaRPr>
          </a:p>
          <a:p>
            <a:pPr marL="171450" indent="-171450" defTabSz="913686">
              <a:buFont typeface="Arial" panose="020B0604020202020204" pitchFamily="34" charset="0"/>
              <a:buChar char="•"/>
            </a:pPr>
            <a:r>
              <a:rPr lang="en-US" sz="1300" b="1" dirty="0">
                <a:solidFill>
                  <a:prstClr val="white"/>
                </a:solidFill>
              </a:rPr>
              <a:t>Tokenization</a:t>
            </a:r>
            <a:r>
              <a:rPr lang="en-US" sz="1300" dirty="0">
                <a:solidFill>
                  <a:prstClr val="white"/>
                </a:solidFill>
              </a:rPr>
              <a:t>: Breaking down input text into tokens</a:t>
            </a:r>
          </a:p>
          <a:p>
            <a:pPr marL="171450" indent="-171450" defTabSz="913686">
              <a:buFont typeface="Arial" panose="020B0604020202020204" pitchFamily="34" charset="0"/>
              <a:buChar char="•"/>
            </a:pPr>
            <a:r>
              <a:rPr lang="en-US" sz="1300" b="1" dirty="0">
                <a:solidFill>
                  <a:prstClr val="white"/>
                </a:solidFill>
              </a:rPr>
              <a:t>Embedding</a:t>
            </a:r>
            <a:r>
              <a:rPr lang="en-US" sz="1300" dirty="0">
                <a:solidFill>
                  <a:prstClr val="white"/>
                </a:solidFill>
              </a:rPr>
              <a:t>: Converting tokens into dense semantic vectors</a:t>
            </a:r>
          </a:p>
          <a:p>
            <a:pPr marL="171450" indent="-171450" defTabSz="913686">
              <a:buFont typeface="Arial" panose="020B0604020202020204" pitchFamily="34" charset="0"/>
              <a:buChar char="•"/>
            </a:pPr>
            <a:r>
              <a:rPr lang="en-US" sz="1300" b="1" dirty="0">
                <a:solidFill>
                  <a:prstClr val="white"/>
                </a:solidFill>
              </a:rPr>
              <a:t>Positional Encoding</a:t>
            </a:r>
            <a:r>
              <a:rPr lang="en-US" sz="1300" dirty="0">
                <a:solidFill>
                  <a:prstClr val="white"/>
                </a:solidFill>
              </a:rPr>
              <a:t>: Adding position information to the embeddings</a:t>
            </a:r>
          </a:p>
        </p:txBody>
      </p:sp>
      <p:sp>
        <p:nvSpPr>
          <p:cNvPr id="7" name="Freeform 30">
            <a:extLst>
              <a:ext uri="{FF2B5EF4-FFF2-40B4-BE49-F238E27FC236}">
                <a16:creationId xmlns:a16="http://schemas.microsoft.com/office/drawing/2014/main" id="{9240D52E-BC33-0A3C-C07B-989D6E35E26E}"/>
              </a:ext>
            </a:extLst>
          </p:cNvPr>
          <p:cNvSpPr/>
          <p:nvPr/>
        </p:nvSpPr>
        <p:spPr bwMode="gray">
          <a:xfrm>
            <a:off x="1427161" y="2525243"/>
            <a:ext cx="7157312"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FFFFFF"/>
          </a:solidFill>
          <a:ln w="19050" algn="ctr">
            <a:solidFill>
              <a:schemeClr val="accent4">
                <a:lumMod val="60000"/>
                <a:lumOff val="40000"/>
              </a:schemeClr>
            </a:solidFill>
            <a:miter lim="800000"/>
            <a:headEnd/>
            <a:tailEnd/>
          </a:ln>
        </p:spPr>
        <p:txBody>
          <a:bodyPr wrap="square" lIns="182880" tIns="88900" rIns="1800000" bIns="88900" rtlCol="0" anchor="ctr"/>
          <a:lstStyle/>
          <a:p>
            <a:pPr defTabSz="913686"/>
            <a:r>
              <a:rPr lang="en-US" sz="1300" b="1" dirty="0">
                <a:solidFill>
                  <a:srgbClr val="000000"/>
                </a:solidFill>
              </a:rPr>
              <a:t>Transformer Decoder Architecture</a:t>
            </a:r>
          </a:p>
          <a:p>
            <a:pPr defTabSz="913686"/>
            <a:endParaRPr lang="en-US" sz="1300" b="1" dirty="0">
              <a:solidFill>
                <a:srgbClr val="000000"/>
              </a:solidFill>
            </a:endParaRPr>
          </a:p>
          <a:p>
            <a:pPr marL="171450" indent="-171450" defTabSz="913686">
              <a:buFont typeface="Arial" panose="020B0604020202020204" pitchFamily="34" charset="0"/>
              <a:buChar char="•"/>
            </a:pPr>
            <a:r>
              <a:rPr lang="en-US" sz="1300" b="1" dirty="0">
                <a:solidFill>
                  <a:srgbClr val="000000"/>
                </a:solidFill>
              </a:rPr>
              <a:t>Multi-Head Self-Attention</a:t>
            </a:r>
            <a:r>
              <a:rPr lang="en-US" sz="1300" dirty="0">
                <a:solidFill>
                  <a:srgbClr val="000000"/>
                </a:solidFill>
              </a:rPr>
              <a:t>: Attending to different parts of the input</a:t>
            </a:r>
          </a:p>
          <a:p>
            <a:pPr marL="171450" indent="-171450" defTabSz="913686">
              <a:buFont typeface="Arial" panose="020B0604020202020204" pitchFamily="34" charset="0"/>
              <a:buChar char="•"/>
            </a:pPr>
            <a:r>
              <a:rPr lang="en-US" sz="1300" b="1" dirty="0">
                <a:solidFill>
                  <a:srgbClr val="000000"/>
                </a:solidFill>
              </a:rPr>
              <a:t>Feed Forward Neural Network</a:t>
            </a:r>
            <a:r>
              <a:rPr lang="en-US" sz="1300" dirty="0">
                <a:solidFill>
                  <a:srgbClr val="000000"/>
                </a:solidFill>
              </a:rPr>
              <a:t>: Processing the attended information</a:t>
            </a:r>
          </a:p>
          <a:p>
            <a:pPr marL="171450" indent="-171450" defTabSz="913686">
              <a:buFont typeface="Arial" panose="020B0604020202020204" pitchFamily="34" charset="0"/>
              <a:buChar char="•"/>
            </a:pPr>
            <a:r>
              <a:rPr lang="en-US" sz="1300" b="1" dirty="0">
                <a:solidFill>
                  <a:srgbClr val="000000"/>
                </a:solidFill>
              </a:rPr>
              <a:t>Residual Connections and Layer Norm</a:t>
            </a:r>
            <a:r>
              <a:rPr lang="en-US" sz="1300" dirty="0">
                <a:solidFill>
                  <a:srgbClr val="000000"/>
                </a:solidFill>
              </a:rPr>
              <a:t>: Enabling stable training</a:t>
            </a:r>
          </a:p>
        </p:txBody>
      </p:sp>
      <p:sp>
        <p:nvSpPr>
          <p:cNvPr id="8" name="Freeform 31">
            <a:extLst>
              <a:ext uri="{FF2B5EF4-FFF2-40B4-BE49-F238E27FC236}">
                <a16:creationId xmlns:a16="http://schemas.microsoft.com/office/drawing/2014/main" id="{817F3943-2B2B-B89B-C98D-2FB9819C243E}"/>
              </a:ext>
            </a:extLst>
          </p:cNvPr>
          <p:cNvSpPr/>
          <p:nvPr/>
        </p:nvSpPr>
        <p:spPr bwMode="gray">
          <a:xfrm>
            <a:off x="1427160" y="4093870"/>
            <a:ext cx="7216770"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chemeClr val="accent1">
              <a:lumMod val="40000"/>
              <a:lumOff val="60000"/>
            </a:schemeClr>
          </a:solidFill>
          <a:ln w="19050" algn="ctr">
            <a:noFill/>
            <a:miter lim="800000"/>
            <a:headEnd/>
            <a:tailEnd/>
          </a:ln>
        </p:spPr>
        <p:txBody>
          <a:bodyPr wrap="square" lIns="182880" tIns="88900" rIns="1800000" bIns="88900" rtlCol="0" anchor="ctr"/>
          <a:lstStyle/>
          <a:p>
            <a:pPr defTabSz="913686"/>
            <a:r>
              <a:rPr lang="en-US" sz="1300" b="1" dirty="0">
                <a:solidFill>
                  <a:srgbClr val="000000"/>
                </a:solidFill>
              </a:rPr>
              <a:t>Output Generation</a:t>
            </a:r>
          </a:p>
          <a:p>
            <a:pPr defTabSz="913686"/>
            <a:endParaRPr lang="en-US" sz="1300" b="1" dirty="0">
              <a:solidFill>
                <a:srgbClr val="000000"/>
              </a:solidFill>
            </a:endParaRPr>
          </a:p>
          <a:p>
            <a:pPr marL="171450" indent="-171450" defTabSz="913686">
              <a:buFont typeface="Arial" panose="020B0604020202020204" pitchFamily="34" charset="0"/>
              <a:buChar char="•"/>
            </a:pPr>
            <a:r>
              <a:rPr lang="it-IT" sz="1300" b="1" dirty="0">
                <a:solidFill>
                  <a:srgbClr val="000000"/>
                </a:solidFill>
              </a:rPr>
              <a:t>Vocabulary Distribution</a:t>
            </a:r>
            <a:r>
              <a:rPr lang="it-IT" sz="1300" dirty="0">
                <a:solidFill>
                  <a:srgbClr val="000000"/>
                </a:solidFill>
              </a:rPr>
              <a:t>: net output is a distribution over the vocabulary</a:t>
            </a:r>
          </a:p>
          <a:p>
            <a:pPr marL="171450" indent="-171450" defTabSz="913686">
              <a:buFont typeface="Arial" panose="020B0604020202020204" pitchFamily="34" charset="0"/>
              <a:buChar char="•"/>
            </a:pPr>
            <a:r>
              <a:rPr lang="it-IT" sz="1300" b="1" dirty="0">
                <a:solidFill>
                  <a:srgbClr val="000000"/>
                </a:solidFill>
              </a:rPr>
              <a:t>Sampling Techniques</a:t>
            </a:r>
            <a:r>
              <a:rPr lang="it-IT" sz="1300" dirty="0">
                <a:solidFill>
                  <a:srgbClr val="000000"/>
                </a:solidFill>
              </a:rPr>
              <a:t>: Methods like top-k sampling for toke selections </a:t>
            </a:r>
          </a:p>
          <a:p>
            <a:pPr marL="171450" indent="-171450" defTabSz="913686">
              <a:buFont typeface="Arial" panose="020B0604020202020204" pitchFamily="34" charset="0"/>
              <a:buChar char="•"/>
            </a:pPr>
            <a:r>
              <a:rPr lang="it-IT" sz="1300" b="1" dirty="0">
                <a:solidFill>
                  <a:srgbClr val="000000"/>
                </a:solidFill>
              </a:rPr>
              <a:t>Iterative process</a:t>
            </a:r>
            <a:r>
              <a:rPr lang="it-IT" sz="1300" dirty="0">
                <a:solidFill>
                  <a:srgbClr val="000000"/>
                </a:solidFill>
              </a:rPr>
              <a:t>: Selected token is fed back to generate the next one</a:t>
            </a:r>
          </a:p>
        </p:txBody>
      </p:sp>
      <p:sp>
        <p:nvSpPr>
          <p:cNvPr id="9" name="TextBox 8">
            <a:extLst>
              <a:ext uri="{FF2B5EF4-FFF2-40B4-BE49-F238E27FC236}">
                <a16:creationId xmlns:a16="http://schemas.microsoft.com/office/drawing/2014/main" id="{26C212F8-A26E-016F-64FC-FEE09C25476E}"/>
              </a:ext>
            </a:extLst>
          </p:cNvPr>
          <p:cNvSpPr txBox="1"/>
          <p:nvPr/>
        </p:nvSpPr>
        <p:spPr>
          <a:xfrm>
            <a:off x="327354" y="446037"/>
            <a:ext cx="1040349" cy="2462213"/>
          </a:xfrm>
          <a:prstGeom prst="rect">
            <a:avLst/>
          </a:prstGeom>
          <a:noFill/>
        </p:spPr>
        <p:txBody>
          <a:bodyPr wrap="none" lIns="0" tIns="0" rIns="0" bIns="0" rtlCol="0">
            <a:spAutoFit/>
          </a:bodyPr>
          <a:lstStyle/>
          <a:p>
            <a:pPr defTabSz="913686">
              <a:buSzPct val="100000"/>
            </a:pPr>
            <a:r>
              <a:rPr lang="en-US" sz="16000" dirty="0">
                <a:solidFill>
                  <a:srgbClr val="000000"/>
                </a:solidFill>
              </a:rPr>
              <a:t>1</a:t>
            </a:r>
            <a:endParaRPr lang="en-GB" sz="16000" dirty="0">
              <a:solidFill>
                <a:srgbClr val="000000"/>
              </a:solidFill>
            </a:endParaRPr>
          </a:p>
        </p:txBody>
      </p:sp>
      <p:sp>
        <p:nvSpPr>
          <p:cNvPr id="10" name="TextBox 9">
            <a:extLst>
              <a:ext uri="{FF2B5EF4-FFF2-40B4-BE49-F238E27FC236}">
                <a16:creationId xmlns:a16="http://schemas.microsoft.com/office/drawing/2014/main" id="{91E34D74-D38F-9EE5-E4E2-F328675C3CE9}"/>
              </a:ext>
            </a:extLst>
          </p:cNvPr>
          <p:cNvSpPr txBox="1"/>
          <p:nvPr/>
        </p:nvSpPr>
        <p:spPr>
          <a:xfrm>
            <a:off x="327354" y="2010264"/>
            <a:ext cx="1040349" cy="2462213"/>
          </a:xfrm>
          <a:prstGeom prst="rect">
            <a:avLst/>
          </a:prstGeom>
          <a:noFill/>
        </p:spPr>
        <p:txBody>
          <a:bodyPr wrap="none" lIns="0" tIns="0" rIns="0" bIns="0" rtlCol="0">
            <a:spAutoFit/>
          </a:bodyPr>
          <a:lstStyle/>
          <a:p>
            <a:pPr defTabSz="913686">
              <a:buSzPct val="100000"/>
            </a:pPr>
            <a:r>
              <a:rPr lang="en-US" sz="16000" dirty="0">
                <a:solidFill>
                  <a:schemeClr val="accent4">
                    <a:lumMod val="60000"/>
                    <a:lumOff val="40000"/>
                  </a:schemeClr>
                </a:solidFill>
              </a:rPr>
              <a:t>2</a:t>
            </a:r>
            <a:endParaRPr lang="en-GB" sz="16000" dirty="0">
              <a:solidFill>
                <a:schemeClr val="accent4">
                  <a:lumMod val="60000"/>
                  <a:lumOff val="40000"/>
                </a:schemeClr>
              </a:solidFill>
            </a:endParaRPr>
          </a:p>
        </p:txBody>
      </p:sp>
      <p:sp>
        <p:nvSpPr>
          <p:cNvPr id="11" name="TextBox 10">
            <a:extLst>
              <a:ext uri="{FF2B5EF4-FFF2-40B4-BE49-F238E27FC236}">
                <a16:creationId xmlns:a16="http://schemas.microsoft.com/office/drawing/2014/main" id="{90F963F4-9F94-9C2D-614D-BE18F85A56D8}"/>
              </a:ext>
            </a:extLst>
          </p:cNvPr>
          <p:cNvSpPr txBox="1"/>
          <p:nvPr/>
        </p:nvSpPr>
        <p:spPr>
          <a:xfrm>
            <a:off x="327354" y="3558982"/>
            <a:ext cx="1040349" cy="2462213"/>
          </a:xfrm>
          <a:prstGeom prst="rect">
            <a:avLst/>
          </a:prstGeom>
          <a:noFill/>
        </p:spPr>
        <p:txBody>
          <a:bodyPr wrap="none" lIns="0" tIns="0" rIns="0" bIns="0" rtlCol="0">
            <a:spAutoFit/>
          </a:bodyPr>
          <a:lstStyle/>
          <a:p>
            <a:pPr defTabSz="913686">
              <a:buSzPct val="100000"/>
            </a:pPr>
            <a:r>
              <a:rPr lang="en-US" sz="16000" dirty="0">
                <a:solidFill>
                  <a:schemeClr val="accent1">
                    <a:lumMod val="60000"/>
                    <a:lumOff val="40000"/>
                  </a:schemeClr>
                </a:solidFill>
              </a:rPr>
              <a:t>3</a:t>
            </a:r>
            <a:endParaRPr lang="en-GB" sz="16000" dirty="0">
              <a:solidFill>
                <a:schemeClr val="accent1">
                  <a:lumMod val="60000"/>
                  <a:lumOff val="40000"/>
                </a:schemeClr>
              </a:solidFill>
            </a:endParaRPr>
          </a:p>
        </p:txBody>
      </p:sp>
      <p:cxnSp>
        <p:nvCxnSpPr>
          <p:cNvPr id="12" name="Straight Connector 11">
            <a:extLst>
              <a:ext uri="{FF2B5EF4-FFF2-40B4-BE49-F238E27FC236}">
                <a16:creationId xmlns:a16="http://schemas.microsoft.com/office/drawing/2014/main" id="{1C925891-69BE-4E5E-164F-4AE98589E217}"/>
              </a:ext>
            </a:extLst>
          </p:cNvPr>
          <p:cNvCxnSpPr/>
          <p:nvPr/>
        </p:nvCxnSpPr>
        <p:spPr>
          <a:xfrm>
            <a:off x="7522323" y="1251358"/>
            <a:ext cx="0" cy="9144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6CD697-7D85-0765-B456-62DFA613742D}"/>
              </a:ext>
            </a:extLst>
          </p:cNvPr>
          <p:cNvCxnSpPr>
            <a:cxnSpLocks/>
          </p:cNvCxnSpPr>
          <p:nvPr/>
        </p:nvCxnSpPr>
        <p:spPr>
          <a:xfrm>
            <a:off x="7522323" y="2819986"/>
            <a:ext cx="0" cy="830788"/>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105E8C4-FFAA-4C84-74E8-FC1B2CA4DE2F}"/>
              </a:ext>
            </a:extLst>
          </p:cNvPr>
          <p:cNvCxnSpPr/>
          <p:nvPr/>
        </p:nvCxnSpPr>
        <p:spPr>
          <a:xfrm>
            <a:off x="7522323" y="4388613"/>
            <a:ext cx="0" cy="9144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15" name="Group 39">
            <a:extLst>
              <a:ext uri="{FF2B5EF4-FFF2-40B4-BE49-F238E27FC236}">
                <a16:creationId xmlns:a16="http://schemas.microsoft.com/office/drawing/2014/main" id="{577A6902-528B-43E6-7C67-9E14C50E4CDC}"/>
              </a:ext>
            </a:extLst>
          </p:cNvPr>
          <p:cNvGrpSpPr>
            <a:grpSpLocks noChangeAspect="1"/>
          </p:cNvGrpSpPr>
          <p:nvPr/>
        </p:nvGrpSpPr>
        <p:grpSpPr bwMode="auto">
          <a:xfrm>
            <a:off x="7662635" y="2908250"/>
            <a:ext cx="742524" cy="742524"/>
            <a:chOff x="3987" y="1509"/>
            <a:chExt cx="340" cy="340"/>
          </a:xfrm>
          <a:solidFill>
            <a:schemeClr val="accent4">
              <a:lumMod val="60000"/>
              <a:lumOff val="40000"/>
            </a:schemeClr>
          </a:solidFill>
        </p:grpSpPr>
        <p:sp>
          <p:nvSpPr>
            <p:cNvPr id="16" name="Freeform 40">
              <a:extLst>
                <a:ext uri="{FF2B5EF4-FFF2-40B4-BE49-F238E27FC236}">
                  <a16:creationId xmlns:a16="http://schemas.microsoft.com/office/drawing/2014/main" id="{B1955304-275E-1417-FDE6-E639936525B8}"/>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4">
                  <a:lumMod val="60000"/>
                  <a:lumOff val="40000"/>
                </a:schemeClr>
              </a:solid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GB" sz="996"/>
            </a:p>
          </p:txBody>
        </p:sp>
        <p:sp>
          <p:nvSpPr>
            <p:cNvPr id="17" name="Freeform 41">
              <a:extLst>
                <a:ext uri="{FF2B5EF4-FFF2-40B4-BE49-F238E27FC236}">
                  <a16:creationId xmlns:a16="http://schemas.microsoft.com/office/drawing/2014/main" id="{BF8B447F-04AF-B433-E16A-1BDF5A03C1AE}"/>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solidFill>
                <a:schemeClr val="accent4">
                  <a:lumMod val="60000"/>
                  <a:lumOff val="40000"/>
                </a:schemeClr>
              </a:solid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GB" sz="996"/>
            </a:p>
          </p:txBody>
        </p:sp>
      </p:grpSp>
      <p:grpSp>
        <p:nvGrpSpPr>
          <p:cNvPr id="18" name="Group 235">
            <a:extLst>
              <a:ext uri="{FF2B5EF4-FFF2-40B4-BE49-F238E27FC236}">
                <a16:creationId xmlns:a16="http://schemas.microsoft.com/office/drawing/2014/main" id="{BA72A901-505C-B746-1C16-5113B287866E}"/>
              </a:ext>
            </a:extLst>
          </p:cNvPr>
          <p:cNvGrpSpPr>
            <a:grpSpLocks noChangeAspect="1"/>
          </p:cNvGrpSpPr>
          <p:nvPr/>
        </p:nvGrpSpPr>
        <p:grpSpPr bwMode="auto">
          <a:xfrm>
            <a:off x="7638563" y="4444020"/>
            <a:ext cx="805953" cy="803576"/>
            <a:chOff x="3811" y="1259"/>
            <a:chExt cx="341" cy="340"/>
          </a:xfrm>
          <a:solidFill>
            <a:schemeClr val="tx1"/>
          </a:solidFill>
        </p:grpSpPr>
        <p:sp>
          <p:nvSpPr>
            <p:cNvPr id="19" name="Freeform 236">
              <a:extLst>
                <a:ext uri="{FF2B5EF4-FFF2-40B4-BE49-F238E27FC236}">
                  <a16:creationId xmlns:a16="http://schemas.microsoft.com/office/drawing/2014/main" id="{3F1378FD-B55B-6B83-471D-476A09AB1E29}"/>
                </a:ext>
              </a:extLst>
            </p:cNvPr>
            <p:cNvSpPr>
              <a:spLocks noEditPoints="1"/>
            </p:cNvSpPr>
            <p:nvPr/>
          </p:nvSpPr>
          <p:spPr bwMode="auto">
            <a:xfrm>
              <a:off x="3896" y="1344"/>
              <a:ext cx="171" cy="170"/>
            </a:xfrm>
            <a:custGeom>
              <a:avLst/>
              <a:gdLst>
                <a:gd name="T0" fmla="*/ 245 w 256"/>
                <a:gd name="T1" fmla="*/ 0 h 256"/>
                <a:gd name="T2" fmla="*/ 10 w 256"/>
                <a:gd name="T3" fmla="*/ 0 h 256"/>
                <a:gd name="T4" fmla="*/ 0 w 256"/>
                <a:gd name="T5" fmla="*/ 10 h 256"/>
                <a:gd name="T6" fmla="*/ 0 w 256"/>
                <a:gd name="T7" fmla="*/ 245 h 256"/>
                <a:gd name="T8" fmla="*/ 10 w 256"/>
                <a:gd name="T9" fmla="*/ 256 h 256"/>
                <a:gd name="T10" fmla="*/ 245 w 256"/>
                <a:gd name="T11" fmla="*/ 256 h 256"/>
                <a:gd name="T12" fmla="*/ 256 w 256"/>
                <a:gd name="T13" fmla="*/ 245 h 256"/>
                <a:gd name="T14" fmla="*/ 256 w 256"/>
                <a:gd name="T15" fmla="*/ 10 h 256"/>
                <a:gd name="T16" fmla="*/ 245 w 256"/>
                <a:gd name="T17" fmla="*/ 0 h 256"/>
                <a:gd name="T18" fmla="*/ 234 w 256"/>
                <a:gd name="T19" fmla="*/ 234 h 256"/>
                <a:gd name="T20" fmla="*/ 21 w 256"/>
                <a:gd name="T21" fmla="*/ 234 h 256"/>
                <a:gd name="T22" fmla="*/ 21 w 256"/>
                <a:gd name="T23" fmla="*/ 21 h 256"/>
                <a:gd name="T24" fmla="*/ 234 w 256"/>
                <a:gd name="T25" fmla="*/ 21 h 256"/>
                <a:gd name="T26" fmla="*/ 234 w 256"/>
                <a:gd name="T27" fmla="*/ 234 h 256"/>
                <a:gd name="T28" fmla="*/ 160 w 256"/>
                <a:gd name="T29" fmla="*/ 64 h 256"/>
                <a:gd name="T30" fmla="*/ 181 w 256"/>
                <a:gd name="T31" fmla="*/ 42 h 256"/>
                <a:gd name="T32" fmla="*/ 202 w 256"/>
                <a:gd name="T33" fmla="*/ 64 h 256"/>
                <a:gd name="T34" fmla="*/ 181 w 256"/>
                <a:gd name="T35" fmla="*/ 85 h 256"/>
                <a:gd name="T36" fmla="*/ 160 w 256"/>
                <a:gd name="T37" fmla="*/ 64 h 256"/>
                <a:gd name="T38" fmla="*/ 160 w 256"/>
                <a:gd name="T39" fmla="*/ 128 h 256"/>
                <a:gd name="T40" fmla="*/ 181 w 256"/>
                <a:gd name="T41" fmla="*/ 106 h 256"/>
                <a:gd name="T42" fmla="*/ 202 w 256"/>
                <a:gd name="T43" fmla="*/ 128 h 256"/>
                <a:gd name="T44" fmla="*/ 181 w 256"/>
                <a:gd name="T45" fmla="*/ 149 h 256"/>
                <a:gd name="T46" fmla="*/ 160 w 256"/>
                <a:gd name="T47" fmla="*/ 128 h 256"/>
                <a:gd name="T48" fmla="*/ 160 w 256"/>
                <a:gd name="T49" fmla="*/ 192 h 256"/>
                <a:gd name="T50" fmla="*/ 181 w 256"/>
                <a:gd name="T51" fmla="*/ 170 h 256"/>
                <a:gd name="T52" fmla="*/ 202 w 256"/>
                <a:gd name="T53" fmla="*/ 192 h 256"/>
                <a:gd name="T54" fmla="*/ 181 w 256"/>
                <a:gd name="T55" fmla="*/ 213 h 256"/>
                <a:gd name="T56" fmla="*/ 160 w 256"/>
                <a:gd name="T57" fmla="*/ 192 h 256"/>
                <a:gd name="T58" fmla="*/ 53 w 256"/>
                <a:gd name="T59" fmla="*/ 192 h 256"/>
                <a:gd name="T60" fmla="*/ 74 w 256"/>
                <a:gd name="T61" fmla="*/ 170 h 256"/>
                <a:gd name="T62" fmla="*/ 96 w 256"/>
                <a:gd name="T63" fmla="*/ 192 h 256"/>
                <a:gd name="T64" fmla="*/ 74 w 256"/>
                <a:gd name="T65" fmla="*/ 213 h 256"/>
                <a:gd name="T66" fmla="*/ 53 w 256"/>
                <a:gd name="T67" fmla="*/ 192 h 256"/>
                <a:gd name="T68" fmla="*/ 53 w 256"/>
                <a:gd name="T69" fmla="*/ 128 h 256"/>
                <a:gd name="T70" fmla="*/ 74 w 256"/>
                <a:gd name="T71" fmla="*/ 106 h 256"/>
                <a:gd name="T72" fmla="*/ 96 w 256"/>
                <a:gd name="T73" fmla="*/ 128 h 256"/>
                <a:gd name="T74" fmla="*/ 74 w 256"/>
                <a:gd name="T75" fmla="*/ 149 h 256"/>
                <a:gd name="T76" fmla="*/ 53 w 256"/>
                <a:gd name="T77" fmla="*/ 128 h 256"/>
                <a:gd name="T78" fmla="*/ 53 w 256"/>
                <a:gd name="T79" fmla="*/ 64 h 256"/>
                <a:gd name="T80" fmla="*/ 74 w 256"/>
                <a:gd name="T81" fmla="*/ 42 h 256"/>
                <a:gd name="T82" fmla="*/ 96 w 256"/>
                <a:gd name="T83" fmla="*/ 64 h 256"/>
                <a:gd name="T84" fmla="*/ 74 w 256"/>
                <a:gd name="T85" fmla="*/ 85 h 256"/>
                <a:gd name="T86" fmla="*/ 53 w 256"/>
                <a:gd name="T87"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 h="256">
                  <a:moveTo>
                    <a:pt x="245" y="0"/>
                  </a:moveTo>
                  <a:cubicBezTo>
                    <a:pt x="10" y="0"/>
                    <a:pt x="10" y="0"/>
                    <a:pt x="10" y="0"/>
                  </a:cubicBezTo>
                  <a:cubicBezTo>
                    <a:pt x="4" y="0"/>
                    <a:pt x="0" y="4"/>
                    <a:pt x="0" y="10"/>
                  </a:cubicBezTo>
                  <a:cubicBezTo>
                    <a:pt x="0" y="245"/>
                    <a:pt x="0" y="245"/>
                    <a:pt x="0" y="245"/>
                  </a:cubicBezTo>
                  <a:cubicBezTo>
                    <a:pt x="0" y="251"/>
                    <a:pt x="4" y="256"/>
                    <a:pt x="10" y="256"/>
                  </a:cubicBezTo>
                  <a:cubicBezTo>
                    <a:pt x="245" y="256"/>
                    <a:pt x="245" y="256"/>
                    <a:pt x="245" y="256"/>
                  </a:cubicBezTo>
                  <a:cubicBezTo>
                    <a:pt x="251" y="256"/>
                    <a:pt x="256" y="251"/>
                    <a:pt x="256" y="245"/>
                  </a:cubicBezTo>
                  <a:cubicBezTo>
                    <a:pt x="256" y="10"/>
                    <a:pt x="256" y="10"/>
                    <a:pt x="256" y="10"/>
                  </a:cubicBezTo>
                  <a:cubicBezTo>
                    <a:pt x="256" y="4"/>
                    <a:pt x="251" y="0"/>
                    <a:pt x="245" y="0"/>
                  </a:cubicBezTo>
                  <a:close/>
                  <a:moveTo>
                    <a:pt x="234" y="234"/>
                  </a:moveTo>
                  <a:cubicBezTo>
                    <a:pt x="21" y="234"/>
                    <a:pt x="21" y="234"/>
                    <a:pt x="21" y="234"/>
                  </a:cubicBezTo>
                  <a:cubicBezTo>
                    <a:pt x="21" y="21"/>
                    <a:pt x="21" y="21"/>
                    <a:pt x="21" y="21"/>
                  </a:cubicBezTo>
                  <a:cubicBezTo>
                    <a:pt x="234" y="21"/>
                    <a:pt x="234" y="21"/>
                    <a:pt x="234" y="21"/>
                  </a:cubicBezTo>
                  <a:lnTo>
                    <a:pt x="234" y="234"/>
                  </a:lnTo>
                  <a:close/>
                  <a:moveTo>
                    <a:pt x="160" y="64"/>
                  </a:moveTo>
                  <a:cubicBezTo>
                    <a:pt x="160" y="52"/>
                    <a:pt x="169" y="42"/>
                    <a:pt x="181" y="42"/>
                  </a:cubicBezTo>
                  <a:cubicBezTo>
                    <a:pt x="193" y="42"/>
                    <a:pt x="202" y="52"/>
                    <a:pt x="202" y="64"/>
                  </a:cubicBezTo>
                  <a:cubicBezTo>
                    <a:pt x="202" y="75"/>
                    <a:pt x="193" y="85"/>
                    <a:pt x="181" y="85"/>
                  </a:cubicBezTo>
                  <a:cubicBezTo>
                    <a:pt x="169" y="85"/>
                    <a:pt x="160" y="75"/>
                    <a:pt x="160" y="64"/>
                  </a:cubicBezTo>
                  <a:close/>
                  <a:moveTo>
                    <a:pt x="160" y="128"/>
                  </a:moveTo>
                  <a:cubicBezTo>
                    <a:pt x="160" y="116"/>
                    <a:pt x="169" y="106"/>
                    <a:pt x="181" y="106"/>
                  </a:cubicBezTo>
                  <a:cubicBezTo>
                    <a:pt x="193" y="106"/>
                    <a:pt x="202" y="116"/>
                    <a:pt x="202" y="128"/>
                  </a:cubicBezTo>
                  <a:cubicBezTo>
                    <a:pt x="202" y="139"/>
                    <a:pt x="193" y="149"/>
                    <a:pt x="181" y="149"/>
                  </a:cubicBezTo>
                  <a:cubicBezTo>
                    <a:pt x="169" y="149"/>
                    <a:pt x="160" y="139"/>
                    <a:pt x="160" y="128"/>
                  </a:cubicBezTo>
                  <a:close/>
                  <a:moveTo>
                    <a:pt x="160" y="192"/>
                  </a:moveTo>
                  <a:cubicBezTo>
                    <a:pt x="160" y="180"/>
                    <a:pt x="169" y="170"/>
                    <a:pt x="181" y="170"/>
                  </a:cubicBezTo>
                  <a:cubicBezTo>
                    <a:pt x="193" y="170"/>
                    <a:pt x="202" y="180"/>
                    <a:pt x="202" y="192"/>
                  </a:cubicBezTo>
                  <a:cubicBezTo>
                    <a:pt x="202" y="203"/>
                    <a:pt x="193" y="213"/>
                    <a:pt x="181" y="213"/>
                  </a:cubicBezTo>
                  <a:cubicBezTo>
                    <a:pt x="169" y="213"/>
                    <a:pt x="160" y="203"/>
                    <a:pt x="160" y="192"/>
                  </a:cubicBezTo>
                  <a:close/>
                  <a:moveTo>
                    <a:pt x="53" y="192"/>
                  </a:moveTo>
                  <a:cubicBezTo>
                    <a:pt x="53" y="180"/>
                    <a:pt x="63" y="170"/>
                    <a:pt x="74" y="170"/>
                  </a:cubicBezTo>
                  <a:cubicBezTo>
                    <a:pt x="86" y="170"/>
                    <a:pt x="96" y="180"/>
                    <a:pt x="96" y="192"/>
                  </a:cubicBezTo>
                  <a:cubicBezTo>
                    <a:pt x="96" y="203"/>
                    <a:pt x="86" y="213"/>
                    <a:pt x="74" y="213"/>
                  </a:cubicBezTo>
                  <a:cubicBezTo>
                    <a:pt x="63" y="213"/>
                    <a:pt x="53" y="203"/>
                    <a:pt x="53" y="192"/>
                  </a:cubicBezTo>
                  <a:close/>
                  <a:moveTo>
                    <a:pt x="53" y="128"/>
                  </a:moveTo>
                  <a:cubicBezTo>
                    <a:pt x="53" y="116"/>
                    <a:pt x="63" y="106"/>
                    <a:pt x="74" y="106"/>
                  </a:cubicBezTo>
                  <a:cubicBezTo>
                    <a:pt x="86" y="106"/>
                    <a:pt x="96" y="116"/>
                    <a:pt x="96" y="128"/>
                  </a:cubicBezTo>
                  <a:cubicBezTo>
                    <a:pt x="96" y="139"/>
                    <a:pt x="86" y="149"/>
                    <a:pt x="74" y="149"/>
                  </a:cubicBezTo>
                  <a:cubicBezTo>
                    <a:pt x="63" y="149"/>
                    <a:pt x="53" y="139"/>
                    <a:pt x="53" y="128"/>
                  </a:cubicBezTo>
                  <a:close/>
                  <a:moveTo>
                    <a:pt x="53" y="64"/>
                  </a:moveTo>
                  <a:cubicBezTo>
                    <a:pt x="53" y="52"/>
                    <a:pt x="63" y="42"/>
                    <a:pt x="74" y="42"/>
                  </a:cubicBezTo>
                  <a:cubicBezTo>
                    <a:pt x="86" y="42"/>
                    <a:pt x="96" y="52"/>
                    <a:pt x="96" y="64"/>
                  </a:cubicBezTo>
                  <a:cubicBezTo>
                    <a:pt x="96" y="75"/>
                    <a:pt x="86" y="85"/>
                    <a:pt x="74" y="85"/>
                  </a:cubicBezTo>
                  <a:cubicBezTo>
                    <a:pt x="63" y="85"/>
                    <a:pt x="53" y="75"/>
                    <a:pt x="53" y="64"/>
                  </a:cubicBezTo>
                  <a:close/>
                </a:path>
              </a:pathLst>
            </a:custGeom>
            <a:grpFill/>
            <a:ln>
              <a:solidFill>
                <a:schemeClr val="tx1"/>
              </a:solid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GB" sz="996"/>
            </a:p>
          </p:txBody>
        </p:sp>
        <p:sp>
          <p:nvSpPr>
            <p:cNvPr id="20" name="Freeform 237">
              <a:extLst>
                <a:ext uri="{FF2B5EF4-FFF2-40B4-BE49-F238E27FC236}">
                  <a16:creationId xmlns:a16="http://schemas.microsoft.com/office/drawing/2014/main" id="{06A2BC0F-2FF8-BB7D-36E1-ED7710829852}"/>
                </a:ext>
              </a:extLst>
            </p:cNvPr>
            <p:cNvSpPr>
              <a:spLocks noEditPoints="1"/>
            </p:cNvSpPr>
            <p:nvPr/>
          </p:nvSpPr>
          <p:spPr bwMode="auto">
            <a:xfrm>
              <a:off x="3811" y="12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1"/>
              </a:solid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GB" sz="996"/>
            </a:p>
          </p:txBody>
        </p:sp>
      </p:grpSp>
      <p:grpSp>
        <p:nvGrpSpPr>
          <p:cNvPr id="21" name="Group 531">
            <a:extLst>
              <a:ext uri="{FF2B5EF4-FFF2-40B4-BE49-F238E27FC236}">
                <a16:creationId xmlns:a16="http://schemas.microsoft.com/office/drawing/2014/main" id="{C3D03213-F25C-9360-BDBB-4D86D197A6C2}"/>
              </a:ext>
            </a:extLst>
          </p:cNvPr>
          <p:cNvGrpSpPr>
            <a:grpSpLocks noChangeAspect="1"/>
          </p:cNvGrpSpPr>
          <p:nvPr/>
        </p:nvGrpSpPr>
        <p:grpSpPr bwMode="auto">
          <a:xfrm>
            <a:off x="7637477" y="1342364"/>
            <a:ext cx="742522" cy="742522"/>
            <a:chOff x="4216" y="2000"/>
            <a:chExt cx="340" cy="340"/>
          </a:xfrm>
          <a:solidFill>
            <a:schemeClr val="bg1"/>
          </a:solidFill>
        </p:grpSpPr>
        <p:sp>
          <p:nvSpPr>
            <p:cNvPr id="22" name="Freeform 532">
              <a:extLst>
                <a:ext uri="{FF2B5EF4-FFF2-40B4-BE49-F238E27FC236}">
                  <a16:creationId xmlns:a16="http://schemas.microsoft.com/office/drawing/2014/main" id="{797D7926-8244-5AB1-0557-C3B00866DDA6}"/>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GB" sz="996"/>
            </a:p>
          </p:txBody>
        </p:sp>
        <p:sp>
          <p:nvSpPr>
            <p:cNvPr id="23" name="Freeform 533">
              <a:extLst>
                <a:ext uri="{FF2B5EF4-FFF2-40B4-BE49-F238E27FC236}">
                  <a16:creationId xmlns:a16="http://schemas.microsoft.com/office/drawing/2014/main" id="{E1E830CA-095B-CE72-6A47-D21F116F3B30}"/>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GB" sz="996"/>
            </a:p>
          </p:txBody>
        </p:sp>
      </p:grpSp>
      <p:pic>
        <p:nvPicPr>
          <p:cNvPr id="24" name="Immagine 11" descr="Immagine che contiene Carattere, logo, Elementi grafici, testo&#10;&#10;Descrizione generata automaticamente">
            <a:extLst>
              <a:ext uri="{FF2B5EF4-FFF2-40B4-BE49-F238E27FC236}">
                <a16:creationId xmlns:a16="http://schemas.microsoft.com/office/drawing/2014/main" id="{3583F491-9915-85BD-F689-0206C02B66BE}"/>
              </a:ext>
            </a:extLst>
          </p:cNvPr>
          <p:cNvPicPr>
            <a:picLocks noChangeAspect="1"/>
          </p:cNvPicPr>
          <p:nvPr/>
        </p:nvPicPr>
        <p:blipFill>
          <a:blip r:embed="rId4"/>
          <a:stretch>
            <a:fillRect/>
          </a:stretch>
        </p:blipFill>
        <p:spPr>
          <a:xfrm>
            <a:off x="10269437" y="5912638"/>
            <a:ext cx="1704759" cy="863169"/>
          </a:xfrm>
          <a:prstGeom prst="rect">
            <a:avLst/>
          </a:prstGeom>
        </p:spPr>
      </p:pic>
    </p:spTree>
    <p:extLst>
      <p:ext uri="{BB962C8B-B14F-4D97-AF65-F5344CB8AC3E}">
        <p14:creationId xmlns:p14="http://schemas.microsoft.com/office/powerpoint/2010/main" val="2097482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CB0ED-877B-3699-27D2-F73C04F1FCC6}"/>
              </a:ext>
            </a:extLst>
          </p:cNvPr>
          <p:cNvSpPr>
            <a:spLocks noGrp="1"/>
          </p:cNvSpPr>
          <p:nvPr>
            <p:ph type="title"/>
          </p:nvPr>
        </p:nvSpPr>
        <p:spPr/>
        <p:txBody>
          <a:bodyPr>
            <a:normAutofit fontScale="90000"/>
          </a:bodyPr>
          <a:lstStyle/>
          <a:p>
            <a:r>
              <a:rPr lang="en-US" sz="4400" dirty="0">
                <a:effectLst/>
                <a:latin typeface="Calibri" panose="020F0502020204030204" pitchFamily="34" charset="0"/>
              </a:rPr>
              <a:t>State of the Art Models</a:t>
            </a:r>
            <a:endParaRPr lang="en-US" dirty="0"/>
          </a:p>
        </p:txBody>
      </p:sp>
      <p:sp>
        <p:nvSpPr>
          <p:cNvPr id="5" name="Content Placeholder 4">
            <a:extLst>
              <a:ext uri="{FF2B5EF4-FFF2-40B4-BE49-F238E27FC236}">
                <a16:creationId xmlns:a16="http://schemas.microsoft.com/office/drawing/2014/main" id="{D6B62643-CDBA-A19A-0F34-F510C63DFA23}"/>
              </a:ext>
            </a:extLst>
          </p:cNvPr>
          <p:cNvSpPr>
            <a:spLocks noGrp="1"/>
          </p:cNvSpPr>
          <p:nvPr>
            <p:ph idx="1"/>
          </p:nvPr>
        </p:nvSpPr>
        <p:spPr/>
        <p:txBody>
          <a:bodyPr/>
          <a:lstStyle/>
          <a:p>
            <a:endParaRPr lang="en-US"/>
          </a:p>
        </p:txBody>
      </p:sp>
      <p:pic>
        <p:nvPicPr>
          <p:cNvPr id="3" name="Immagine 11" descr="Immagine che contiene Carattere, logo, Elementi grafici, testo&#10;&#10;Descrizione generata automaticamente">
            <a:extLst>
              <a:ext uri="{FF2B5EF4-FFF2-40B4-BE49-F238E27FC236}">
                <a16:creationId xmlns:a16="http://schemas.microsoft.com/office/drawing/2014/main" id="{87C14748-5678-52FA-7E4F-1893A9B85A8A}"/>
              </a:ext>
            </a:extLst>
          </p:cNvPr>
          <p:cNvPicPr>
            <a:picLocks noChangeAspect="1"/>
          </p:cNvPicPr>
          <p:nvPr/>
        </p:nvPicPr>
        <p:blipFill>
          <a:blip r:embed="rId3"/>
          <a:stretch>
            <a:fillRect/>
          </a:stretch>
        </p:blipFill>
        <p:spPr>
          <a:xfrm>
            <a:off x="10269437" y="5912638"/>
            <a:ext cx="1704759" cy="863169"/>
          </a:xfrm>
          <a:prstGeom prst="rect">
            <a:avLst/>
          </a:prstGeom>
        </p:spPr>
      </p:pic>
      <p:pic>
        <p:nvPicPr>
          <p:cNvPr id="7" name="Picture 6">
            <a:extLst>
              <a:ext uri="{FF2B5EF4-FFF2-40B4-BE49-F238E27FC236}">
                <a16:creationId xmlns:a16="http://schemas.microsoft.com/office/drawing/2014/main" id="{60EFC7A6-0754-5049-BE9A-129099726EA5}"/>
              </a:ext>
            </a:extLst>
          </p:cNvPr>
          <p:cNvPicPr>
            <a:picLocks noChangeAspect="1"/>
          </p:cNvPicPr>
          <p:nvPr/>
        </p:nvPicPr>
        <p:blipFill>
          <a:blip r:embed="rId4"/>
          <a:stretch>
            <a:fillRect/>
          </a:stretch>
        </p:blipFill>
        <p:spPr>
          <a:xfrm>
            <a:off x="1064910" y="952320"/>
            <a:ext cx="9844391" cy="5905680"/>
          </a:xfrm>
          <a:prstGeom prst="rect">
            <a:avLst/>
          </a:prstGeom>
        </p:spPr>
      </p:pic>
    </p:spTree>
    <p:extLst>
      <p:ext uri="{BB962C8B-B14F-4D97-AF65-F5344CB8AC3E}">
        <p14:creationId xmlns:p14="http://schemas.microsoft.com/office/powerpoint/2010/main" val="18242837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CB0ED-877B-3699-27D2-F73C04F1FCC6}"/>
              </a:ext>
            </a:extLst>
          </p:cNvPr>
          <p:cNvSpPr>
            <a:spLocks noGrp="1"/>
          </p:cNvSpPr>
          <p:nvPr>
            <p:ph type="title"/>
          </p:nvPr>
        </p:nvSpPr>
        <p:spPr/>
        <p:txBody>
          <a:bodyPr>
            <a:normAutofit fontScale="90000"/>
          </a:bodyPr>
          <a:lstStyle/>
          <a:p>
            <a:r>
              <a:rPr lang="en-US" sz="4400" dirty="0">
                <a:effectLst/>
                <a:latin typeface="Calibri" panose="020F0502020204030204" pitchFamily="34" charset="0"/>
              </a:rPr>
              <a:t>State of the Art </a:t>
            </a:r>
            <a:r>
              <a:rPr lang="en-US" sz="4400" i="1" dirty="0">
                <a:effectLst/>
                <a:latin typeface="Calibri" panose="020F0502020204030204" pitchFamily="34" charset="0"/>
              </a:rPr>
              <a:t>Open</a:t>
            </a:r>
            <a:r>
              <a:rPr lang="en-US" sz="4400" dirty="0">
                <a:effectLst/>
                <a:latin typeface="Calibri" panose="020F0502020204030204" pitchFamily="34" charset="0"/>
              </a:rPr>
              <a:t> Models</a:t>
            </a:r>
            <a:endParaRPr lang="en-US" dirty="0"/>
          </a:p>
        </p:txBody>
      </p:sp>
      <p:cxnSp>
        <p:nvCxnSpPr>
          <p:cNvPr id="8" name="Straight Arrow Connector 7">
            <a:extLst>
              <a:ext uri="{FF2B5EF4-FFF2-40B4-BE49-F238E27FC236}">
                <a16:creationId xmlns:a16="http://schemas.microsoft.com/office/drawing/2014/main" id="{EC2B15EF-09D8-48D0-3831-C99C22C2D164}"/>
              </a:ext>
            </a:extLst>
          </p:cNvPr>
          <p:cNvCxnSpPr/>
          <p:nvPr/>
        </p:nvCxnSpPr>
        <p:spPr>
          <a:xfrm>
            <a:off x="8836819" y="546211"/>
            <a:ext cx="0" cy="63579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pic>
        <p:nvPicPr>
          <p:cNvPr id="3" name="Immagine 11" descr="Immagine che contiene Carattere, logo, Elementi grafici, testo&#10;&#10;Descrizione generata automaticamente">
            <a:extLst>
              <a:ext uri="{FF2B5EF4-FFF2-40B4-BE49-F238E27FC236}">
                <a16:creationId xmlns:a16="http://schemas.microsoft.com/office/drawing/2014/main" id="{C0DB0AF9-FB04-3D57-C328-851C81E4E4CF}"/>
              </a:ext>
            </a:extLst>
          </p:cNvPr>
          <p:cNvPicPr>
            <a:picLocks noChangeAspect="1"/>
          </p:cNvPicPr>
          <p:nvPr/>
        </p:nvPicPr>
        <p:blipFill>
          <a:blip r:embed="rId2"/>
          <a:stretch>
            <a:fillRect/>
          </a:stretch>
        </p:blipFill>
        <p:spPr>
          <a:xfrm>
            <a:off x="10269437" y="5912638"/>
            <a:ext cx="1704759" cy="863169"/>
          </a:xfrm>
          <a:prstGeom prst="rect">
            <a:avLst/>
          </a:prstGeom>
        </p:spPr>
      </p:pic>
      <p:pic>
        <p:nvPicPr>
          <p:cNvPr id="4" name="Picture 3">
            <a:extLst>
              <a:ext uri="{FF2B5EF4-FFF2-40B4-BE49-F238E27FC236}">
                <a16:creationId xmlns:a16="http://schemas.microsoft.com/office/drawing/2014/main" id="{74675CEE-BF30-F7D6-8612-5CE59FD210EA}"/>
              </a:ext>
            </a:extLst>
          </p:cNvPr>
          <p:cNvPicPr>
            <a:picLocks noChangeAspect="1"/>
          </p:cNvPicPr>
          <p:nvPr/>
        </p:nvPicPr>
        <p:blipFill>
          <a:blip r:embed="rId3"/>
          <a:stretch>
            <a:fillRect/>
          </a:stretch>
        </p:blipFill>
        <p:spPr>
          <a:xfrm>
            <a:off x="1007532" y="1276236"/>
            <a:ext cx="10246467" cy="5120640"/>
          </a:xfrm>
          <a:prstGeom prst="rect">
            <a:avLst/>
          </a:prstGeom>
        </p:spPr>
      </p:pic>
    </p:spTree>
    <p:extLst>
      <p:ext uri="{BB962C8B-B14F-4D97-AF65-F5344CB8AC3E}">
        <p14:creationId xmlns:p14="http://schemas.microsoft.com/office/powerpoint/2010/main" val="35687993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28039-0C10-800F-06A9-254B5A2395D3}"/>
              </a:ext>
            </a:extLst>
          </p:cNvPr>
          <p:cNvSpPr>
            <a:spLocks noGrp="1"/>
          </p:cNvSpPr>
          <p:nvPr>
            <p:ph type="title"/>
          </p:nvPr>
        </p:nvSpPr>
        <p:spPr/>
        <p:txBody>
          <a:bodyPr/>
          <a:lstStyle/>
          <a:p>
            <a:r>
              <a:rPr lang="it-IT" u="sng" dirty="0"/>
              <a:t>Open Source </a:t>
            </a:r>
            <a:r>
              <a:rPr lang="it-IT" dirty="0"/>
              <a:t>vs Open Weights </a:t>
            </a:r>
            <a:endParaRPr lang="en-US" dirty="0"/>
          </a:p>
        </p:txBody>
      </p:sp>
      <p:pic>
        <p:nvPicPr>
          <p:cNvPr id="6" name="Content Placeholder 5">
            <a:extLst>
              <a:ext uri="{FF2B5EF4-FFF2-40B4-BE49-F238E27FC236}">
                <a16:creationId xmlns:a16="http://schemas.microsoft.com/office/drawing/2014/main" id="{6090ED78-0410-B76F-C763-EE05C6D67D67}"/>
              </a:ext>
            </a:extLst>
          </p:cNvPr>
          <p:cNvPicPr>
            <a:picLocks noGrp="1" noChangeAspect="1"/>
          </p:cNvPicPr>
          <p:nvPr>
            <p:ph idx="1"/>
          </p:nvPr>
        </p:nvPicPr>
        <p:blipFill>
          <a:blip r:embed="rId3"/>
          <a:stretch>
            <a:fillRect/>
          </a:stretch>
        </p:blipFill>
        <p:spPr>
          <a:xfrm>
            <a:off x="589510" y="2827284"/>
            <a:ext cx="5850537" cy="2670772"/>
          </a:xfrm>
        </p:spPr>
      </p:pic>
      <p:sp>
        <p:nvSpPr>
          <p:cNvPr id="4" name="Slide Number Placeholder 3">
            <a:extLst>
              <a:ext uri="{FF2B5EF4-FFF2-40B4-BE49-F238E27FC236}">
                <a16:creationId xmlns:a16="http://schemas.microsoft.com/office/drawing/2014/main" id="{648D7198-FD58-78F0-4650-D9DE65443439}"/>
              </a:ext>
            </a:extLst>
          </p:cNvPr>
          <p:cNvSpPr>
            <a:spLocks noGrp="1"/>
          </p:cNvSpPr>
          <p:nvPr>
            <p:ph type="sldNum" sz="quarter" idx="4"/>
          </p:nvPr>
        </p:nvSpPr>
        <p:spPr/>
        <p:txBody>
          <a:bodyPr/>
          <a:lstStyle/>
          <a:p>
            <a:fld id="{0E40EB1B-F5EF-4BD9-BEF0-8FDE7FEF3ED8}" type="slidenum">
              <a:rPr lang="it-IT" smtClean="0"/>
              <a:pPr/>
              <a:t>8</a:t>
            </a:fld>
            <a:endParaRPr lang="it-IT" dirty="0"/>
          </a:p>
        </p:txBody>
      </p:sp>
      <p:pic>
        <p:nvPicPr>
          <p:cNvPr id="8" name="Picture 7">
            <a:extLst>
              <a:ext uri="{FF2B5EF4-FFF2-40B4-BE49-F238E27FC236}">
                <a16:creationId xmlns:a16="http://schemas.microsoft.com/office/drawing/2014/main" id="{490E2EA4-8F03-B2D5-482C-FED1BBE26321}"/>
              </a:ext>
            </a:extLst>
          </p:cNvPr>
          <p:cNvPicPr>
            <a:picLocks noChangeAspect="1"/>
          </p:cNvPicPr>
          <p:nvPr/>
        </p:nvPicPr>
        <p:blipFill>
          <a:blip r:embed="rId4"/>
          <a:stretch>
            <a:fillRect/>
          </a:stretch>
        </p:blipFill>
        <p:spPr>
          <a:xfrm>
            <a:off x="1472565" y="1818426"/>
            <a:ext cx="3579929" cy="734443"/>
          </a:xfrm>
          <a:prstGeom prst="rect">
            <a:avLst/>
          </a:prstGeom>
        </p:spPr>
      </p:pic>
      <p:pic>
        <p:nvPicPr>
          <p:cNvPr id="10" name="Picture 9">
            <a:extLst>
              <a:ext uri="{FF2B5EF4-FFF2-40B4-BE49-F238E27FC236}">
                <a16:creationId xmlns:a16="http://schemas.microsoft.com/office/drawing/2014/main" id="{AF82298B-7595-F94F-55E3-79CAD987CF70}"/>
              </a:ext>
            </a:extLst>
          </p:cNvPr>
          <p:cNvPicPr>
            <a:picLocks noChangeAspect="1"/>
          </p:cNvPicPr>
          <p:nvPr/>
        </p:nvPicPr>
        <p:blipFill>
          <a:blip r:embed="rId5"/>
          <a:stretch>
            <a:fillRect/>
          </a:stretch>
        </p:blipFill>
        <p:spPr>
          <a:xfrm>
            <a:off x="7144837" y="2980364"/>
            <a:ext cx="4101234" cy="3130929"/>
          </a:xfrm>
          <a:prstGeom prst="rect">
            <a:avLst/>
          </a:prstGeom>
        </p:spPr>
      </p:pic>
      <p:pic>
        <p:nvPicPr>
          <p:cNvPr id="12" name="Picture 11">
            <a:extLst>
              <a:ext uri="{FF2B5EF4-FFF2-40B4-BE49-F238E27FC236}">
                <a16:creationId xmlns:a16="http://schemas.microsoft.com/office/drawing/2014/main" id="{AB1CF625-8FAD-C341-17E3-99ABDDE284B0}"/>
              </a:ext>
            </a:extLst>
          </p:cNvPr>
          <p:cNvPicPr>
            <a:picLocks noChangeAspect="1"/>
          </p:cNvPicPr>
          <p:nvPr/>
        </p:nvPicPr>
        <p:blipFill>
          <a:blip r:embed="rId6"/>
          <a:stretch>
            <a:fillRect/>
          </a:stretch>
        </p:blipFill>
        <p:spPr>
          <a:xfrm>
            <a:off x="8310664" y="1333391"/>
            <a:ext cx="1769580" cy="1557374"/>
          </a:xfrm>
          <a:prstGeom prst="rect">
            <a:avLst/>
          </a:prstGeom>
        </p:spPr>
      </p:pic>
      <p:pic>
        <p:nvPicPr>
          <p:cNvPr id="3" name="Immagine 11" descr="Immagine che contiene Carattere, logo, Elementi grafici, testo&#10;&#10;Descrizione generata automaticamente">
            <a:extLst>
              <a:ext uri="{FF2B5EF4-FFF2-40B4-BE49-F238E27FC236}">
                <a16:creationId xmlns:a16="http://schemas.microsoft.com/office/drawing/2014/main" id="{CA6333DD-B1CC-9C92-28C5-8D1AE893419A}"/>
              </a:ext>
            </a:extLst>
          </p:cNvPr>
          <p:cNvPicPr>
            <a:picLocks noChangeAspect="1"/>
          </p:cNvPicPr>
          <p:nvPr/>
        </p:nvPicPr>
        <p:blipFill>
          <a:blip r:embed="rId7"/>
          <a:stretch>
            <a:fillRect/>
          </a:stretch>
        </p:blipFill>
        <p:spPr>
          <a:xfrm>
            <a:off x="10269437" y="5912638"/>
            <a:ext cx="1704759" cy="863169"/>
          </a:xfrm>
          <a:prstGeom prst="rect">
            <a:avLst/>
          </a:prstGeom>
        </p:spPr>
      </p:pic>
    </p:spTree>
    <p:extLst>
      <p:ext uri="{BB962C8B-B14F-4D97-AF65-F5344CB8AC3E}">
        <p14:creationId xmlns:p14="http://schemas.microsoft.com/office/powerpoint/2010/main" val="1935552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CC598-E9C1-38EA-B4FD-382A611B5291}"/>
              </a:ext>
            </a:extLst>
          </p:cNvPr>
          <p:cNvSpPr>
            <a:spLocks noGrp="1"/>
          </p:cNvSpPr>
          <p:nvPr>
            <p:ph type="title"/>
          </p:nvPr>
        </p:nvSpPr>
        <p:spPr/>
        <p:txBody>
          <a:bodyPr/>
          <a:lstStyle/>
          <a:p>
            <a:r>
              <a:rPr lang="en-US" dirty="0"/>
              <a:t>Meta LLaMa2 </a:t>
            </a:r>
          </a:p>
        </p:txBody>
      </p:sp>
      <p:sp>
        <p:nvSpPr>
          <p:cNvPr id="5" name="Content Placeholder 4">
            <a:extLst>
              <a:ext uri="{FF2B5EF4-FFF2-40B4-BE49-F238E27FC236}">
                <a16:creationId xmlns:a16="http://schemas.microsoft.com/office/drawing/2014/main" id="{7F6BC2AA-1DFF-C62E-F7E1-0622F996A99F}"/>
              </a:ext>
            </a:extLst>
          </p:cNvPr>
          <p:cNvSpPr>
            <a:spLocks noGrp="1"/>
          </p:cNvSpPr>
          <p:nvPr>
            <p:ph idx="1"/>
          </p:nvPr>
        </p:nvSpPr>
        <p:spPr/>
        <p:txBody>
          <a:bodyPr/>
          <a:lstStyle/>
          <a:p>
            <a:endParaRPr lang="en-US"/>
          </a:p>
        </p:txBody>
      </p:sp>
      <p:cxnSp>
        <p:nvCxnSpPr>
          <p:cNvPr id="8" name="Straight Arrow Connector 7">
            <a:extLst>
              <a:ext uri="{FF2B5EF4-FFF2-40B4-BE49-F238E27FC236}">
                <a16:creationId xmlns:a16="http://schemas.microsoft.com/office/drawing/2014/main" id="{E14A9FD4-9DC6-D9AA-BDCD-4E58DE37E8D3}"/>
              </a:ext>
            </a:extLst>
          </p:cNvPr>
          <p:cNvCxnSpPr>
            <a:cxnSpLocks/>
          </p:cNvCxnSpPr>
          <p:nvPr/>
        </p:nvCxnSpPr>
        <p:spPr>
          <a:xfrm>
            <a:off x="363433" y="1635919"/>
            <a:ext cx="752607"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646324C-466C-3F90-5F44-F2C4120BFC80}"/>
              </a:ext>
            </a:extLst>
          </p:cNvPr>
          <p:cNvCxnSpPr>
            <a:cxnSpLocks/>
          </p:cNvCxnSpPr>
          <p:nvPr/>
        </p:nvCxnSpPr>
        <p:spPr>
          <a:xfrm>
            <a:off x="334858" y="4379119"/>
            <a:ext cx="752607"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pic>
        <p:nvPicPr>
          <p:cNvPr id="3" name="Immagine 11" descr="Immagine che contiene Carattere, logo, Elementi grafici, testo&#10;&#10;Descrizione generata automaticamente">
            <a:extLst>
              <a:ext uri="{FF2B5EF4-FFF2-40B4-BE49-F238E27FC236}">
                <a16:creationId xmlns:a16="http://schemas.microsoft.com/office/drawing/2014/main" id="{B4FC385C-7C55-790B-32EA-1AA33807B740}"/>
              </a:ext>
            </a:extLst>
          </p:cNvPr>
          <p:cNvPicPr>
            <a:picLocks noChangeAspect="1"/>
          </p:cNvPicPr>
          <p:nvPr/>
        </p:nvPicPr>
        <p:blipFill>
          <a:blip r:embed="rId2"/>
          <a:stretch>
            <a:fillRect/>
          </a:stretch>
        </p:blipFill>
        <p:spPr>
          <a:xfrm>
            <a:off x="10269437" y="5912638"/>
            <a:ext cx="1704759" cy="863169"/>
          </a:xfrm>
          <a:prstGeom prst="rect">
            <a:avLst/>
          </a:prstGeom>
        </p:spPr>
      </p:pic>
      <p:pic>
        <p:nvPicPr>
          <p:cNvPr id="7" name="Picture 6">
            <a:extLst>
              <a:ext uri="{FF2B5EF4-FFF2-40B4-BE49-F238E27FC236}">
                <a16:creationId xmlns:a16="http://schemas.microsoft.com/office/drawing/2014/main" id="{4120C316-4C11-6A00-E2B1-90035A397DCB}"/>
              </a:ext>
            </a:extLst>
          </p:cNvPr>
          <p:cNvPicPr>
            <a:picLocks noChangeAspect="1"/>
          </p:cNvPicPr>
          <p:nvPr/>
        </p:nvPicPr>
        <p:blipFill>
          <a:blip r:embed="rId3"/>
          <a:stretch>
            <a:fillRect/>
          </a:stretch>
        </p:blipFill>
        <p:spPr>
          <a:xfrm>
            <a:off x="1202663" y="1080805"/>
            <a:ext cx="9786674" cy="4913087"/>
          </a:xfrm>
          <a:prstGeom prst="rect">
            <a:avLst/>
          </a:prstGeom>
        </p:spPr>
      </p:pic>
    </p:spTree>
    <p:extLst>
      <p:ext uri="{BB962C8B-B14F-4D97-AF65-F5344CB8AC3E}">
        <p14:creationId xmlns:p14="http://schemas.microsoft.com/office/powerpoint/2010/main" val="9638279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Cornice">
  <a:themeElements>
    <a:clrScheme name="Cornic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Cornic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Cornic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2.xml><?xml version="1.0" encoding="utf-8"?>
<a:theme xmlns:a="http://schemas.openxmlformats.org/drawingml/2006/main" name="Personalizza struttura">
  <a:themeElements>
    <a:clrScheme name="Agile Lab">
      <a:dk1>
        <a:srgbClr val="1E2546"/>
      </a:dk1>
      <a:lt1>
        <a:srgbClr val="FFFFFF"/>
      </a:lt1>
      <a:dk2>
        <a:srgbClr val="20284B"/>
      </a:dk2>
      <a:lt2>
        <a:srgbClr val="FFFFFF"/>
      </a:lt2>
      <a:accent1>
        <a:srgbClr val="20284B"/>
      </a:accent1>
      <a:accent2>
        <a:srgbClr val="00AAC4"/>
      </a:accent2>
      <a:accent3>
        <a:srgbClr val="7AC7D2"/>
      </a:accent3>
      <a:accent4>
        <a:srgbClr val="EB9414"/>
      </a:accent4>
      <a:accent5>
        <a:srgbClr val="BCBCBC"/>
      </a:accent5>
      <a:accent6>
        <a:srgbClr val="343659"/>
      </a:accent6>
      <a:hlink>
        <a:srgbClr val="FFAE3E"/>
      </a:hlink>
      <a:folHlink>
        <a:srgbClr val="FCC77E"/>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itboost Value Proposition V4_marica" id="{8E78BFE0-27D6-0142-86C2-1ECFD9D85789}" vid="{848E7193-AAF0-8E44-BED3-93188D21B501}"/>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75[[fn=Cornice]]</Template>
  <TotalTime>0</TotalTime>
  <Words>679</Words>
  <Application>Microsoft Office PowerPoint</Application>
  <PresentationFormat>Widescreen</PresentationFormat>
  <Paragraphs>108</Paragraphs>
  <Slides>17</Slides>
  <Notes>10</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32" baseType="lpstr">
      <vt:lpstr>__tiempos_b6f14e</vt:lpstr>
      <vt:lpstr>Arial</vt:lpstr>
      <vt:lpstr>Arial Black</vt:lpstr>
      <vt:lpstr>Calibri</vt:lpstr>
      <vt:lpstr>Montserrat</vt:lpstr>
      <vt:lpstr>Montserrat Medium</vt:lpstr>
      <vt:lpstr>Montserrat SemiBold</vt:lpstr>
      <vt:lpstr>Open Sans</vt:lpstr>
      <vt:lpstr>OpenSans-Regular</vt:lpstr>
      <vt:lpstr>Poppins</vt:lpstr>
      <vt:lpstr>Wingdings</vt:lpstr>
      <vt:lpstr>Wingdings 2</vt:lpstr>
      <vt:lpstr>Cornice</vt:lpstr>
      <vt:lpstr>Personalizza struttura</vt:lpstr>
      <vt:lpstr>Diapositiva think-cell</vt:lpstr>
      <vt:lpstr>PowerPoint Presentation</vt:lpstr>
      <vt:lpstr>PowerPoint Presentation</vt:lpstr>
      <vt:lpstr>PowerPoint Presentation</vt:lpstr>
      <vt:lpstr>Autoregressive Language Models</vt:lpstr>
      <vt:lpstr>Generation Flow</vt:lpstr>
      <vt:lpstr>State of the Art Models</vt:lpstr>
      <vt:lpstr>State of the Art Open Models</vt:lpstr>
      <vt:lpstr>Open Source vs Open Weights </vt:lpstr>
      <vt:lpstr>Meta LLaMa2 </vt:lpstr>
      <vt:lpstr>Different model sizes for different computing capabilities</vt:lpstr>
      <vt:lpstr>Different flavors for different use cases</vt:lpstr>
      <vt:lpstr>Last minute news</vt:lpstr>
      <vt:lpstr>Llama 3 benchmark</vt:lpstr>
      <vt:lpstr>LLaMa 2 Training</vt:lpstr>
      <vt:lpstr>Two always more distinct world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Laura Mortini</dc:creator>
  <cp:lastModifiedBy>Ivan Gentile</cp:lastModifiedBy>
  <cp:revision>4</cp:revision>
  <dcterms:created xsi:type="dcterms:W3CDTF">2023-06-08T05:23:34Z</dcterms:created>
  <dcterms:modified xsi:type="dcterms:W3CDTF">2024-04-19T07:08:55Z</dcterms:modified>
</cp:coreProperties>
</file>